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0"/>
  </p:notesMasterIdLst>
  <p:handoutMasterIdLst>
    <p:handoutMasterId r:id="rId21"/>
  </p:handoutMasterIdLst>
  <p:sldIdLst>
    <p:sldId id="2147473327" r:id="rId5"/>
    <p:sldId id="2147473316" r:id="rId6"/>
    <p:sldId id="2147473317" r:id="rId7"/>
    <p:sldId id="2147473320" r:id="rId8"/>
    <p:sldId id="2147473330" r:id="rId9"/>
    <p:sldId id="2147473331" r:id="rId10"/>
    <p:sldId id="2147473321" r:id="rId11"/>
    <p:sldId id="2147473334" r:id="rId12"/>
    <p:sldId id="2147473335" r:id="rId13"/>
    <p:sldId id="2147473336" r:id="rId14"/>
    <p:sldId id="2147473323" r:id="rId15"/>
    <p:sldId id="2147473333" r:id="rId16"/>
    <p:sldId id="2147473318" r:id="rId17"/>
    <p:sldId id="2147473319" r:id="rId18"/>
    <p:sldId id="2147473337"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64" userDrawn="1">
          <p15:clr>
            <a:srgbClr val="A4A3A4"/>
          </p15:clr>
        </p15:guide>
        <p15:guide id="3"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340646-5EFC-124C-840F-B6F9925CA84D}" name="Patel, Akshay H" initials="PA" userId="S::ahp25@pitt.edu::bd68b12e-cfb3-48ce-bdfe-d104b0a4f414" providerId="AD"/>
  <p188:author id="{546F9E5F-E796-94A3-3156-601129F7F7EA}" name="Zheng, Sikai" initials="SZ" userId="S::SIZ43@pitt.edu::fabf58f4-9e14-4620-a4d9-bc6ab4f13d62" providerId="AD"/>
  <p188:author id="{A1875587-CE0B-50EC-75DB-0ECD07EE0DB6}" name="Layding, Isabelle M" initials="IL" userId="S::IML18@pitt.edu::4468f9a0-c065-42e2-ab86-bcffdb9237dc" providerId="AD"/>
  <p188:author id="{158C669F-381A-2AE0-6FE1-EC2C1CF6CF4F}" name="Davis, Sammy" initials="SD" userId="S::SND32@pitt.edu::34a7c942-311a-44b4-9b03-90763ea47a9b" providerId="AD"/>
  <p188:author id="{803E1FA7-F2C5-AC87-22B4-163CD6ECADC4}" name="Bangha, Niral" initials="NB" userId="S::NIB98@pitt.edu::6d038e59-c0a6-4109-abb5-a697eee77424" providerId="AD"/>
  <p188:author id="{79A9E4B3-A634-1BFB-1081-147FEE4C74ED}" name="Wankhede, Revati Sharad" initials="WR" userId="S::rew158@pitt.edu::d1d1d99c-52bd-4e18-b627-649863e868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2E69"/>
    <a:srgbClr val="256282"/>
    <a:srgbClr val="FFC9C9"/>
    <a:srgbClr val="FFEFBF"/>
    <a:srgbClr val="D3ECB8"/>
    <a:srgbClr val="43AEE2"/>
    <a:srgbClr val="8CAE95"/>
    <a:srgbClr val="B1DDBA"/>
    <a:srgbClr val="97BD9F"/>
    <a:srgbClr val="A6D0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800956-06DF-FEF5-5BE8-6CE63F77D420}" v="1" dt="2025-04-20T17:27:39.218"/>
    <p1510:client id="{25A6EBCD-A287-2E0D-20C6-7BBCEBE6473C}" v="378" dt="2025-04-20T19:33:17.102"/>
    <p1510:client id="{2B62D422-F2EE-429B-8C28-861467FABE93}" v="4" dt="2025-04-20T23:24:40.884"/>
    <p1510:client id="{54667268-3C32-1CAC-ED4B-1731CC33B7AA}" v="694" dt="2025-04-20T16:33:40.714"/>
    <p1510:client id="{588D6C58-80C3-C6BD-D642-BA5431D10B60}" v="573" dt="2025-04-19T17:32:41.246"/>
    <p1510:client id="{878461C2-182C-F4D4-821E-D8CEA9751ECA}" v="322" dt="2025-04-21T15:41:53.456"/>
    <p1510:client id="{CA99EC57-7267-8BD0-A8CB-16E259625F60}" v="9" dt="2025-04-21T15:35:18.711"/>
    <p1510:client id="{D69F2103-5A66-F9B4-4F59-B1F68B6FA3BD}" v="336" dt="2025-04-19T22:06:53.966"/>
    <p1510:client id="{E2A5A3D6-72DF-1D9D-959D-EED6DDF3DA3A}" v="30" dt="2025-04-19T18:01:02.5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64"/>
        <p:guide orient="horz" pos="216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u, Timothy" userId="S::chl570@pitt.edu::e71bb192-b359-4eae-a81d-4582e30b7736" providerId="AD" clId="Web-{0F800956-06DF-FEF5-5BE8-6CE63F77D420}"/>
    <pc:docChg chg="delSld">
      <pc:chgData name="Liu, Timothy" userId="S::chl570@pitt.edu::e71bb192-b359-4eae-a81d-4582e30b7736" providerId="AD" clId="Web-{0F800956-06DF-FEF5-5BE8-6CE63F77D420}" dt="2025-04-20T17:27:39.218" v="0"/>
      <pc:docMkLst>
        <pc:docMk/>
      </pc:docMkLst>
      <pc:sldChg chg="del">
        <pc:chgData name="Liu, Timothy" userId="S::chl570@pitt.edu::e71bb192-b359-4eae-a81d-4582e30b7736" providerId="AD" clId="Web-{0F800956-06DF-FEF5-5BE8-6CE63F77D420}" dt="2025-04-20T17:27:39.218" v="0"/>
        <pc:sldMkLst>
          <pc:docMk/>
          <pc:sldMk cId="1637087943" sldId="2147473332"/>
        </pc:sldMkLst>
      </pc:sldChg>
    </pc:docChg>
  </pc:docChgLst>
  <pc:docChgLst>
    <pc:chgData name="Wankhede, Revati Sharad" userId="S::rew158@pitt.edu::d1d1d99c-52bd-4e18-b627-649863e8685d" providerId="AD" clId="Web-{CA99EC57-7267-8BD0-A8CB-16E259625F60}"/>
    <pc:docChg chg="delSld modSld">
      <pc:chgData name="Wankhede, Revati Sharad" userId="S::rew158@pitt.edu::d1d1d99c-52bd-4e18-b627-649863e8685d" providerId="AD" clId="Web-{CA99EC57-7267-8BD0-A8CB-16E259625F60}" dt="2025-04-21T15:35:16.336" v="8"/>
      <pc:docMkLst>
        <pc:docMk/>
      </pc:docMkLst>
      <pc:sldChg chg="del">
        <pc:chgData name="Wankhede, Revati Sharad" userId="S::rew158@pitt.edu::d1d1d99c-52bd-4e18-b627-649863e8685d" providerId="AD" clId="Web-{CA99EC57-7267-8BD0-A8CB-16E259625F60}" dt="2025-04-21T15:08:45.490" v="3"/>
        <pc:sldMkLst>
          <pc:docMk/>
          <pc:sldMk cId="956446626" sldId="2147473315"/>
        </pc:sldMkLst>
      </pc:sldChg>
      <pc:sldChg chg="modNotes">
        <pc:chgData name="Wankhede, Revati Sharad" userId="S::rew158@pitt.edu::d1d1d99c-52bd-4e18-b627-649863e8685d" providerId="AD" clId="Web-{CA99EC57-7267-8BD0-A8CB-16E259625F60}" dt="2025-04-21T15:34:56.226" v="6"/>
        <pc:sldMkLst>
          <pc:docMk/>
          <pc:sldMk cId="3240406354" sldId="2147473320"/>
        </pc:sldMkLst>
      </pc:sldChg>
      <pc:sldChg chg="modSp">
        <pc:chgData name="Wankhede, Revati Sharad" userId="S::rew158@pitt.edu::d1d1d99c-52bd-4e18-b627-649863e8685d" providerId="AD" clId="Web-{CA99EC57-7267-8BD0-A8CB-16E259625F60}" dt="2025-04-21T15:06:04.155" v="2" actId="20577"/>
        <pc:sldMkLst>
          <pc:docMk/>
          <pc:sldMk cId="2096876042" sldId="2147473321"/>
        </pc:sldMkLst>
        <pc:spChg chg="mod">
          <ac:chgData name="Wankhede, Revati Sharad" userId="S::rew158@pitt.edu::d1d1d99c-52bd-4e18-b627-649863e8685d" providerId="AD" clId="Web-{CA99EC57-7267-8BD0-A8CB-16E259625F60}" dt="2025-04-21T15:06:04.155" v="2" actId="20577"/>
          <ac:spMkLst>
            <pc:docMk/>
            <pc:sldMk cId="2096876042" sldId="2147473321"/>
            <ac:spMk id="2" creationId="{130C3B13-F67C-A06C-CDCD-6AAA712BFE82}"/>
          </ac:spMkLst>
        </pc:spChg>
      </pc:sldChg>
      <pc:sldChg chg="del">
        <pc:chgData name="Wankhede, Revati Sharad" userId="S::rew158@pitt.edu::d1d1d99c-52bd-4e18-b627-649863e8685d" providerId="AD" clId="Web-{CA99EC57-7267-8BD0-A8CB-16E259625F60}" dt="2025-04-21T15:08:47.536" v="4"/>
        <pc:sldMkLst>
          <pc:docMk/>
          <pc:sldMk cId="4248029138" sldId="2147473329"/>
        </pc:sldMkLst>
      </pc:sldChg>
      <pc:sldChg chg="modNotes">
        <pc:chgData name="Wankhede, Revati Sharad" userId="S::rew158@pitt.edu::d1d1d99c-52bd-4e18-b627-649863e8685d" providerId="AD" clId="Web-{CA99EC57-7267-8BD0-A8CB-16E259625F60}" dt="2025-04-21T15:35:08.648" v="7"/>
        <pc:sldMkLst>
          <pc:docMk/>
          <pc:sldMk cId="356252971" sldId="2147473330"/>
        </pc:sldMkLst>
      </pc:sldChg>
      <pc:sldChg chg="modNotes">
        <pc:chgData name="Wankhede, Revati Sharad" userId="S::rew158@pitt.edu::d1d1d99c-52bd-4e18-b627-649863e8685d" providerId="AD" clId="Web-{CA99EC57-7267-8BD0-A8CB-16E259625F60}" dt="2025-04-21T15:35:16.336" v="8"/>
        <pc:sldMkLst>
          <pc:docMk/>
          <pc:sldMk cId="3402577392" sldId="2147473331"/>
        </pc:sldMkLst>
      </pc:sldChg>
    </pc:docChg>
  </pc:docChgLst>
  <pc:docChgLst>
    <pc:chgData name="Wankhede, Revati Sharad" userId="S::rew158@pitt.edu::d1d1d99c-52bd-4e18-b627-649863e8685d" providerId="AD" clId="Web-{25A6EBCD-A287-2E0D-20C6-7BBCEBE6473C}"/>
    <pc:docChg chg="addSld delSld modSld sldOrd">
      <pc:chgData name="Wankhede, Revati Sharad" userId="S::rew158@pitt.edu::d1d1d99c-52bd-4e18-b627-649863e8685d" providerId="AD" clId="Web-{25A6EBCD-A287-2E0D-20C6-7BBCEBE6473C}" dt="2025-04-20T19:33:17.102" v="281"/>
      <pc:docMkLst>
        <pc:docMk/>
      </pc:docMkLst>
      <pc:sldChg chg="ord">
        <pc:chgData name="Wankhede, Revati Sharad" userId="S::rew158@pitt.edu::d1d1d99c-52bd-4e18-b627-649863e8685d" providerId="AD" clId="Web-{25A6EBCD-A287-2E0D-20C6-7BBCEBE6473C}" dt="2025-04-20T19:33:11.164" v="280"/>
        <pc:sldMkLst>
          <pc:docMk/>
          <pc:sldMk cId="956446626" sldId="2147473315"/>
        </pc:sldMkLst>
      </pc:sldChg>
      <pc:sldChg chg="addSp delSp modSp modNotes">
        <pc:chgData name="Wankhede, Revati Sharad" userId="S::rew158@pitt.edu::d1d1d99c-52bd-4e18-b627-649863e8685d" providerId="AD" clId="Web-{25A6EBCD-A287-2E0D-20C6-7BBCEBE6473C}" dt="2025-04-20T19:28:37.263" v="242" actId="1076"/>
        <pc:sldMkLst>
          <pc:docMk/>
          <pc:sldMk cId="3240406354" sldId="2147473320"/>
        </pc:sldMkLst>
        <pc:spChg chg="del">
          <ac:chgData name="Wankhede, Revati Sharad" userId="S::rew158@pitt.edu::d1d1d99c-52bd-4e18-b627-649863e8685d" providerId="AD" clId="Web-{25A6EBCD-A287-2E0D-20C6-7BBCEBE6473C}" dt="2025-04-20T18:54:23.314" v="2"/>
          <ac:spMkLst>
            <pc:docMk/>
            <pc:sldMk cId="3240406354" sldId="2147473320"/>
            <ac:spMk id="3" creationId="{A19D41BD-AB16-6FFB-FBC5-3F5F881980E8}"/>
          </ac:spMkLst>
        </pc:spChg>
        <pc:spChg chg="add mod">
          <ac:chgData name="Wankhede, Revati Sharad" userId="S::rew158@pitt.edu::d1d1d99c-52bd-4e18-b627-649863e8685d" providerId="AD" clId="Web-{25A6EBCD-A287-2E0D-20C6-7BBCEBE6473C}" dt="2025-04-20T19:28:37.263" v="242" actId="1076"/>
          <ac:spMkLst>
            <pc:docMk/>
            <pc:sldMk cId="3240406354" sldId="2147473320"/>
            <ac:spMk id="11" creationId="{C0E4FBB6-2586-8E17-8BB4-2B03330AEE6C}"/>
          </ac:spMkLst>
        </pc:spChg>
        <pc:picChg chg="add del mod modCrop">
          <ac:chgData name="Wankhede, Revati Sharad" userId="S::rew158@pitt.edu::d1d1d99c-52bd-4e18-b627-649863e8685d" providerId="AD" clId="Web-{25A6EBCD-A287-2E0D-20C6-7BBCEBE6473C}" dt="2025-04-20T18:55:18.066" v="13"/>
          <ac:picMkLst>
            <pc:docMk/>
            <pc:sldMk cId="3240406354" sldId="2147473320"/>
            <ac:picMk id="4" creationId="{BEE089CC-B4B9-732D-5256-84230761EC2B}"/>
          </ac:picMkLst>
        </pc:picChg>
        <pc:picChg chg="add del mod">
          <ac:chgData name="Wankhede, Revati Sharad" userId="S::rew158@pitt.edu::d1d1d99c-52bd-4e18-b627-649863e8685d" providerId="AD" clId="Web-{25A6EBCD-A287-2E0D-20C6-7BBCEBE6473C}" dt="2025-04-20T18:55:59.927" v="17"/>
          <ac:picMkLst>
            <pc:docMk/>
            <pc:sldMk cId="3240406354" sldId="2147473320"/>
            <ac:picMk id="6" creationId="{F73ADDF0-3900-15F0-2586-1E69D411405D}"/>
          </ac:picMkLst>
        </pc:picChg>
        <pc:picChg chg="add del mod">
          <ac:chgData name="Wankhede, Revati Sharad" userId="S::rew158@pitt.edu::d1d1d99c-52bd-4e18-b627-649863e8685d" providerId="AD" clId="Web-{25A6EBCD-A287-2E0D-20C6-7BBCEBE6473C}" dt="2025-04-20T18:56:08.349" v="19"/>
          <ac:picMkLst>
            <pc:docMk/>
            <pc:sldMk cId="3240406354" sldId="2147473320"/>
            <ac:picMk id="7" creationId="{3299E227-0BF7-14D2-9BF0-FE2BA7783ACE}"/>
          </ac:picMkLst>
        </pc:picChg>
        <pc:picChg chg="add del mod">
          <ac:chgData name="Wankhede, Revati Sharad" userId="S::rew158@pitt.edu::d1d1d99c-52bd-4e18-b627-649863e8685d" providerId="AD" clId="Web-{25A6EBCD-A287-2E0D-20C6-7BBCEBE6473C}" dt="2025-04-20T18:56:17.787" v="22"/>
          <ac:picMkLst>
            <pc:docMk/>
            <pc:sldMk cId="3240406354" sldId="2147473320"/>
            <ac:picMk id="8" creationId="{0ADCA91E-F1A7-05A6-FA6E-FF2623986804}"/>
          </ac:picMkLst>
        </pc:picChg>
        <pc:picChg chg="add del mod">
          <ac:chgData name="Wankhede, Revati Sharad" userId="S::rew158@pitt.edu::d1d1d99c-52bd-4e18-b627-649863e8685d" providerId="AD" clId="Web-{25A6EBCD-A287-2E0D-20C6-7BBCEBE6473C}" dt="2025-04-20T18:56:33.444" v="24"/>
          <ac:picMkLst>
            <pc:docMk/>
            <pc:sldMk cId="3240406354" sldId="2147473320"/>
            <ac:picMk id="9" creationId="{94E1800B-46BC-B38E-FE11-02D9868049AB}"/>
          </ac:picMkLst>
        </pc:picChg>
        <pc:picChg chg="add mod">
          <ac:chgData name="Wankhede, Revati Sharad" userId="S::rew158@pitt.edu::d1d1d99c-52bd-4e18-b627-649863e8685d" providerId="AD" clId="Web-{25A6EBCD-A287-2E0D-20C6-7BBCEBE6473C}" dt="2025-04-20T18:58:31.854" v="42" actId="14100"/>
          <ac:picMkLst>
            <pc:docMk/>
            <pc:sldMk cId="3240406354" sldId="2147473320"/>
            <ac:picMk id="10" creationId="{F4854A2B-AA34-BA90-B5F2-042666C39D17}"/>
          </ac:picMkLst>
        </pc:picChg>
      </pc:sldChg>
      <pc:sldChg chg="addSp modSp">
        <pc:chgData name="Wankhede, Revati Sharad" userId="S::rew158@pitt.edu::d1d1d99c-52bd-4e18-b627-649863e8685d" providerId="AD" clId="Web-{25A6EBCD-A287-2E0D-20C6-7BBCEBE6473C}" dt="2025-04-20T19:11:47.649" v="144" actId="14100"/>
        <pc:sldMkLst>
          <pc:docMk/>
          <pc:sldMk cId="2096876042" sldId="2147473321"/>
        </pc:sldMkLst>
        <pc:spChg chg="mod">
          <ac:chgData name="Wankhede, Revati Sharad" userId="S::rew158@pitt.edu::d1d1d99c-52bd-4e18-b627-649863e8685d" providerId="AD" clId="Web-{25A6EBCD-A287-2E0D-20C6-7BBCEBE6473C}" dt="2025-04-20T19:11:47.649" v="144" actId="14100"/>
          <ac:spMkLst>
            <pc:docMk/>
            <pc:sldMk cId="2096876042" sldId="2147473321"/>
            <ac:spMk id="3" creationId="{789A6009-C1EA-D1BB-00EF-066A6D3174A3}"/>
          </ac:spMkLst>
        </pc:spChg>
        <pc:picChg chg="add mod">
          <ac:chgData name="Wankhede, Revati Sharad" userId="S::rew158@pitt.edu::d1d1d99c-52bd-4e18-b627-649863e8685d" providerId="AD" clId="Web-{25A6EBCD-A287-2E0D-20C6-7BBCEBE6473C}" dt="2025-04-20T19:11:39.789" v="142" actId="1076"/>
          <ac:picMkLst>
            <pc:docMk/>
            <pc:sldMk cId="2096876042" sldId="2147473321"/>
            <ac:picMk id="6" creationId="{22B0D421-513D-941C-6E34-50D8E0C0894B}"/>
          </ac:picMkLst>
        </pc:picChg>
      </pc:sldChg>
      <pc:sldChg chg="del">
        <pc:chgData name="Wankhede, Revati Sharad" userId="S::rew158@pitt.edu::d1d1d99c-52bd-4e18-b627-649863e8685d" providerId="AD" clId="Web-{25A6EBCD-A287-2E0D-20C6-7BBCEBE6473C}" dt="2025-04-20T19:28:03.497" v="241"/>
        <pc:sldMkLst>
          <pc:docMk/>
          <pc:sldMk cId="588146936" sldId="2147473322"/>
        </pc:sldMkLst>
      </pc:sldChg>
      <pc:sldChg chg="modSp">
        <pc:chgData name="Wankhede, Revati Sharad" userId="S::rew158@pitt.edu::d1d1d99c-52bd-4e18-b627-649863e8685d" providerId="AD" clId="Web-{25A6EBCD-A287-2E0D-20C6-7BBCEBE6473C}" dt="2025-04-20T19:30:48.784" v="250" actId="1076"/>
        <pc:sldMkLst>
          <pc:docMk/>
          <pc:sldMk cId="1939484485" sldId="2147473323"/>
        </pc:sldMkLst>
        <pc:spChg chg="mod">
          <ac:chgData name="Wankhede, Revati Sharad" userId="S::rew158@pitt.edu::d1d1d99c-52bd-4e18-b627-649863e8685d" providerId="AD" clId="Web-{25A6EBCD-A287-2E0D-20C6-7BBCEBE6473C}" dt="2025-04-20T19:30:48.752" v="248" actId="1076"/>
          <ac:spMkLst>
            <pc:docMk/>
            <pc:sldMk cId="1939484485" sldId="2147473323"/>
            <ac:spMk id="7" creationId="{8FD20A29-673B-166B-56A3-7BEA3169AA1F}"/>
          </ac:spMkLst>
        </pc:spChg>
        <pc:spChg chg="mod">
          <ac:chgData name="Wankhede, Revati Sharad" userId="S::rew158@pitt.edu::d1d1d99c-52bd-4e18-b627-649863e8685d" providerId="AD" clId="Web-{25A6EBCD-A287-2E0D-20C6-7BBCEBE6473C}" dt="2025-04-20T19:30:48.784" v="250" actId="1076"/>
          <ac:spMkLst>
            <pc:docMk/>
            <pc:sldMk cId="1939484485" sldId="2147473323"/>
            <ac:spMk id="15" creationId="{DEF4C912-39CD-CEFD-1906-C4E48E543E4F}"/>
          </ac:spMkLst>
        </pc:spChg>
        <pc:picChg chg="mod">
          <ac:chgData name="Wankhede, Revati Sharad" userId="S::rew158@pitt.edu::d1d1d99c-52bd-4e18-b627-649863e8685d" providerId="AD" clId="Web-{25A6EBCD-A287-2E0D-20C6-7BBCEBE6473C}" dt="2025-04-20T19:30:48.737" v="247" actId="1076"/>
          <ac:picMkLst>
            <pc:docMk/>
            <pc:sldMk cId="1939484485" sldId="2147473323"/>
            <ac:picMk id="4" creationId="{82FFBE4B-D680-A121-BFF4-D2EB13DC9BDC}"/>
          </ac:picMkLst>
        </pc:picChg>
        <pc:picChg chg="mod">
          <ac:chgData name="Wankhede, Revati Sharad" userId="S::rew158@pitt.edu::d1d1d99c-52bd-4e18-b627-649863e8685d" providerId="AD" clId="Web-{25A6EBCD-A287-2E0D-20C6-7BBCEBE6473C}" dt="2025-04-20T19:30:48.768" v="249" actId="1076"/>
          <ac:picMkLst>
            <pc:docMk/>
            <pc:sldMk cId="1939484485" sldId="2147473323"/>
            <ac:picMk id="14" creationId="{646EC832-5D57-F6A6-EA17-C852576B1700}"/>
          </ac:picMkLst>
        </pc:picChg>
      </pc:sldChg>
      <pc:sldChg chg="del">
        <pc:chgData name="Wankhede, Revati Sharad" userId="S::rew158@pitt.edu::d1d1d99c-52bd-4e18-b627-649863e8685d" providerId="AD" clId="Web-{25A6EBCD-A287-2E0D-20C6-7BBCEBE6473C}" dt="2025-04-20T19:11:53.368" v="145"/>
        <pc:sldMkLst>
          <pc:docMk/>
          <pc:sldMk cId="247662777" sldId="2147473324"/>
        </pc:sldMkLst>
      </pc:sldChg>
      <pc:sldChg chg="del">
        <pc:chgData name="Wankhede, Revati Sharad" userId="S::rew158@pitt.edu::d1d1d99c-52bd-4e18-b627-649863e8685d" providerId="AD" clId="Web-{25A6EBCD-A287-2E0D-20C6-7BBCEBE6473C}" dt="2025-04-20T19:15:10.625" v="175"/>
        <pc:sldMkLst>
          <pc:docMk/>
          <pc:sldMk cId="68559176" sldId="2147473325"/>
        </pc:sldMkLst>
      </pc:sldChg>
      <pc:sldChg chg="addSp delSp modSp">
        <pc:chgData name="Wankhede, Revati Sharad" userId="S::rew158@pitt.edu::d1d1d99c-52bd-4e18-b627-649863e8685d" providerId="AD" clId="Web-{25A6EBCD-A287-2E0D-20C6-7BBCEBE6473C}" dt="2025-04-20T19:27:51.887" v="240" actId="1076"/>
        <pc:sldMkLst>
          <pc:docMk/>
          <pc:sldMk cId="3608760087" sldId="2147473326"/>
        </pc:sldMkLst>
        <pc:picChg chg="add del mod">
          <ac:chgData name="Wankhede, Revati Sharad" userId="S::rew158@pitt.edu::d1d1d99c-52bd-4e18-b627-649863e8685d" providerId="AD" clId="Web-{25A6EBCD-A287-2E0D-20C6-7BBCEBE6473C}" dt="2025-04-20T19:27:41.855" v="236"/>
          <ac:picMkLst>
            <pc:docMk/>
            <pc:sldMk cId="3608760087" sldId="2147473326"/>
            <ac:picMk id="3" creationId="{5D8E9D86-6E6C-47F7-2B28-E759B6C83605}"/>
          </ac:picMkLst>
        </pc:picChg>
        <pc:picChg chg="add mod">
          <ac:chgData name="Wankhede, Revati Sharad" userId="S::rew158@pitt.edu::d1d1d99c-52bd-4e18-b627-649863e8685d" providerId="AD" clId="Web-{25A6EBCD-A287-2E0D-20C6-7BBCEBE6473C}" dt="2025-04-20T19:27:51.887" v="240" actId="1076"/>
          <ac:picMkLst>
            <pc:docMk/>
            <pc:sldMk cId="3608760087" sldId="2147473326"/>
            <ac:picMk id="4" creationId="{77FC6300-4374-169A-0961-37C559085AF0}"/>
          </ac:picMkLst>
        </pc:picChg>
      </pc:sldChg>
      <pc:sldChg chg="modSp ord">
        <pc:chgData name="Wankhede, Revati Sharad" userId="S::rew158@pitt.edu::d1d1d99c-52bd-4e18-b627-649863e8685d" providerId="AD" clId="Web-{25A6EBCD-A287-2E0D-20C6-7BBCEBE6473C}" dt="2025-04-20T19:33:06.398" v="279"/>
        <pc:sldMkLst>
          <pc:docMk/>
          <pc:sldMk cId="576765263" sldId="2147473327"/>
        </pc:sldMkLst>
        <pc:spChg chg="mod">
          <ac:chgData name="Wankhede, Revati Sharad" userId="S::rew158@pitt.edu::d1d1d99c-52bd-4e18-b627-649863e8685d" providerId="AD" clId="Web-{25A6EBCD-A287-2E0D-20C6-7BBCEBE6473C}" dt="2025-04-20T19:32:40.694" v="278" actId="20577"/>
          <ac:spMkLst>
            <pc:docMk/>
            <pc:sldMk cId="576765263" sldId="2147473327"/>
            <ac:spMk id="3" creationId="{61826DC7-0B32-3345-4567-D7A6604DBDE3}"/>
          </ac:spMkLst>
        </pc:spChg>
        <pc:spChg chg="mod">
          <ac:chgData name="Wankhede, Revati Sharad" userId="S::rew158@pitt.edu::d1d1d99c-52bd-4e18-b627-649863e8685d" providerId="AD" clId="Web-{25A6EBCD-A287-2E0D-20C6-7BBCEBE6473C}" dt="2025-04-20T19:32:27.772" v="276"/>
          <ac:spMkLst>
            <pc:docMk/>
            <pc:sldMk cId="576765263" sldId="2147473327"/>
            <ac:spMk id="6" creationId="{8099E983-114C-6520-4DB2-DD88258B8AF7}"/>
          </ac:spMkLst>
        </pc:spChg>
      </pc:sldChg>
      <pc:sldChg chg="ord">
        <pc:chgData name="Wankhede, Revati Sharad" userId="S::rew158@pitt.edu::d1d1d99c-52bd-4e18-b627-649863e8685d" providerId="AD" clId="Web-{25A6EBCD-A287-2E0D-20C6-7BBCEBE6473C}" dt="2025-04-20T19:33:17.102" v="281"/>
        <pc:sldMkLst>
          <pc:docMk/>
          <pc:sldMk cId="4248029138" sldId="2147473329"/>
        </pc:sldMkLst>
      </pc:sldChg>
      <pc:sldChg chg="addSp modSp modNotes">
        <pc:chgData name="Wankhede, Revati Sharad" userId="S::rew158@pitt.edu::d1d1d99c-52bd-4e18-b627-649863e8685d" providerId="AD" clId="Web-{25A6EBCD-A287-2E0D-20C6-7BBCEBE6473C}" dt="2025-04-20T19:04:59.337" v="114" actId="20577"/>
        <pc:sldMkLst>
          <pc:docMk/>
          <pc:sldMk cId="356252971" sldId="2147473330"/>
        </pc:sldMkLst>
        <pc:spChg chg="mod">
          <ac:chgData name="Wankhede, Revati Sharad" userId="S::rew158@pitt.edu::d1d1d99c-52bd-4e18-b627-649863e8685d" providerId="AD" clId="Web-{25A6EBCD-A287-2E0D-20C6-7BBCEBE6473C}" dt="2025-04-20T19:04:59.337" v="114" actId="20577"/>
          <ac:spMkLst>
            <pc:docMk/>
            <pc:sldMk cId="356252971" sldId="2147473330"/>
            <ac:spMk id="3" creationId="{64494497-0C8A-C159-B516-E28D8DE57A4A}"/>
          </ac:spMkLst>
        </pc:spChg>
        <pc:spChg chg="add mod">
          <ac:chgData name="Wankhede, Revati Sharad" userId="S::rew158@pitt.edu::d1d1d99c-52bd-4e18-b627-649863e8685d" providerId="AD" clId="Web-{25A6EBCD-A287-2E0D-20C6-7BBCEBE6473C}" dt="2025-04-20T19:03:54.413" v="106" actId="14100"/>
          <ac:spMkLst>
            <pc:docMk/>
            <pc:sldMk cId="356252971" sldId="2147473330"/>
            <ac:spMk id="4" creationId="{80D24BB0-D548-C69D-8694-C5F2B5685C3D}"/>
          </ac:spMkLst>
        </pc:spChg>
      </pc:sldChg>
      <pc:sldChg chg="addSp modSp">
        <pc:chgData name="Wankhede, Revati Sharad" userId="S::rew158@pitt.edu::d1d1d99c-52bd-4e18-b627-649863e8685d" providerId="AD" clId="Web-{25A6EBCD-A287-2E0D-20C6-7BBCEBE6473C}" dt="2025-04-20T19:10:06.051" v="138" actId="20577"/>
        <pc:sldMkLst>
          <pc:docMk/>
          <pc:sldMk cId="3402577392" sldId="2147473331"/>
        </pc:sldMkLst>
        <pc:spChg chg="add mod">
          <ac:chgData name="Wankhede, Revati Sharad" userId="S::rew158@pitt.edu::d1d1d99c-52bd-4e18-b627-649863e8685d" providerId="AD" clId="Web-{25A6EBCD-A287-2E0D-20C6-7BBCEBE6473C}" dt="2025-04-20T19:10:06.051" v="138" actId="20577"/>
          <ac:spMkLst>
            <pc:docMk/>
            <pc:sldMk cId="3402577392" sldId="2147473331"/>
            <ac:spMk id="3" creationId="{E0568E4A-6F4B-7E3A-3EC3-99338D879307}"/>
          </ac:spMkLst>
        </pc:spChg>
      </pc:sldChg>
      <pc:sldChg chg="addSp delSp modSp">
        <pc:chgData name="Wankhede, Revati Sharad" userId="S::rew158@pitt.edu::d1d1d99c-52bd-4e18-b627-649863e8685d" providerId="AD" clId="Web-{25A6EBCD-A287-2E0D-20C6-7BBCEBE6473C}" dt="2025-04-20T19:31:07.706" v="252" actId="1076"/>
        <pc:sldMkLst>
          <pc:docMk/>
          <pc:sldMk cId="1350242171" sldId="2147473334"/>
        </pc:sldMkLst>
        <pc:spChg chg="mod">
          <ac:chgData name="Wankhede, Revati Sharad" userId="S::rew158@pitt.edu::d1d1d99c-52bd-4e18-b627-649863e8685d" providerId="AD" clId="Web-{25A6EBCD-A287-2E0D-20C6-7BBCEBE6473C}" dt="2025-04-20T19:12:29.228" v="155" actId="20577"/>
          <ac:spMkLst>
            <pc:docMk/>
            <pc:sldMk cId="1350242171" sldId="2147473334"/>
            <ac:spMk id="2" creationId="{9A17AB3D-559E-8E70-E29C-80D757F18AF9}"/>
          </ac:spMkLst>
        </pc:spChg>
        <pc:picChg chg="add mod">
          <ac:chgData name="Wankhede, Revati Sharad" userId="S::rew158@pitt.edu::d1d1d99c-52bd-4e18-b627-649863e8685d" providerId="AD" clId="Web-{25A6EBCD-A287-2E0D-20C6-7BBCEBE6473C}" dt="2025-04-20T19:31:07.706" v="252" actId="1076"/>
          <ac:picMkLst>
            <pc:docMk/>
            <pc:sldMk cId="1350242171" sldId="2147473334"/>
            <ac:picMk id="3" creationId="{B90C8E24-D2FD-F0DE-2312-92DEF4106FC1}"/>
          </ac:picMkLst>
        </pc:picChg>
        <pc:picChg chg="add del">
          <ac:chgData name="Wankhede, Revati Sharad" userId="S::rew158@pitt.edu::d1d1d99c-52bd-4e18-b627-649863e8685d" providerId="AD" clId="Web-{25A6EBCD-A287-2E0D-20C6-7BBCEBE6473C}" dt="2025-04-20T19:13:22.918" v="158"/>
          <ac:picMkLst>
            <pc:docMk/>
            <pc:sldMk cId="1350242171" sldId="2147473334"/>
            <ac:picMk id="4" creationId="{B4FEBD76-DEFF-D4AE-49F1-D64BE869A086}"/>
          </ac:picMkLst>
        </pc:picChg>
      </pc:sldChg>
      <pc:sldChg chg="addSp delSp modSp">
        <pc:chgData name="Wankhede, Revati Sharad" userId="S::rew158@pitt.edu::d1d1d99c-52bd-4e18-b627-649863e8685d" providerId="AD" clId="Web-{25A6EBCD-A287-2E0D-20C6-7BBCEBE6473C}" dt="2025-04-20T19:14:55.468" v="174" actId="1076"/>
        <pc:sldMkLst>
          <pc:docMk/>
          <pc:sldMk cId="4243968148" sldId="2147473335"/>
        </pc:sldMkLst>
        <pc:spChg chg="mod">
          <ac:chgData name="Wankhede, Revati Sharad" userId="S::rew158@pitt.edu::d1d1d99c-52bd-4e18-b627-649863e8685d" providerId="AD" clId="Web-{25A6EBCD-A287-2E0D-20C6-7BBCEBE6473C}" dt="2025-04-20T19:13:52.747" v="169" actId="20577"/>
          <ac:spMkLst>
            <pc:docMk/>
            <pc:sldMk cId="4243968148" sldId="2147473335"/>
            <ac:spMk id="2" creationId="{1F53B465-427C-8378-9832-5AC2883C48A0}"/>
          </ac:spMkLst>
        </pc:spChg>
        <pc:picChg chg="del">
          <ac:chgData name="Wankhede, Revati Sharad" userId="S::rew158@pitt.edu::d1d1d99c-52bd-4e18-b627-649863e8685d" providerId="AD" clId="Web-{25A6EBCD-A287-2E0D-20C6-7BBCEBE6473C}" dt="2025-04-20T19:13:54.356" v="170"/>
          <ac:picMkLst>
            <pc:docMk/>
            <pc:sldMk cId="4243968148" sldId="2147473335"/>
            <ac:picMk id="3" creationId="{2F29BAD1-1BD9-465C-1AD5-97DC40F64A06}"/>
          </ac:picMkLst>
        </pc:picChg>
        <pc:picChg chg="add mod">
          <ac:chgData name="Wankhede, Revati Sharad" userId="S::rew158@pitt.edu::d1d1d99c-52bd-4e18-b627-649863e8685d" providerId="AD" clId="Web-{25A6EBCD-A287-2E0D-20C6-7BBCEBE6473C}" dt="2025-04-20T19:14:55.468" v="174" actId="1076"/>
          <ac:picMkLst>
            <pc:docMk/>
            <pc:sldMk cId="4243968148" sldId="2147473335"/>
            <ac:picMk id="4" creationId="{D9DCE821-AC4A-C33A-2FB8-D4173648FA8E}"/>
          </ac:picMkLst>
        </pc:picChg>
      </pc:sldChg>
      <pc:sldChg chg="addSp delSp modSp">
        <pc:chgData name="Wankhede, Revati Sharad" userId="S::rew158@pitt.edu::d1d1d99c-52bd-4e18-b627-649863e8685d" providerId="AD" clId="Web-{25A6EBCD-A287-2E0D-20C6-7BBCEBE6473C}" dt="2025-04-20T19:21:01.450" v="232" actId="20577"/>
        <pc:sldMkLst>
          <pc:docMk/>
          <pc:sldMk cId="1196946110" sldId="2147473336"/>
        </pc:sldMkLst>
        <pc:spChg chg="mod">
          <ac:chgData name="Wankhede, Revati Sharad" userId="S::rew158@pitt.edu::d1d1d99c-52bd-4e18-b627-649863e8685d" providerId="AD" clId="Web-{25A6EBCD-A287-2E0D-20C6-7BBCEBE6473C}" dt="2025-04-20T19:21:01.450" v="232" actId="20577"/>
          <ac:spMkLst>
            <pc:docMk/>
            <pc:sldMk cId="1196946110" sldId="2147473336"/>
            <ac:spMk id="2" creationId="{B463CA1A-1B6D-997B-18C9-0F033A375000}"/>
          </ac:spMkLst>
        </pc:spChg>
        <pc:spChg chg="add mod">
          <ac:chgData name="Wankhede, Revati Sharad" userId="S::rew158@pitt.edu::d1d1d99c-52bd-4e18-b627-649863e8685d" providerId="AD" clId="Web-{25A6EBCD-A287-2E0D-20C6-7BBCEBE6473C}" dt="2025-04-20T19:19:52.323" v="214" actId="1076"/>
          <ac:spMkLst>
            <pc:docMk/>
            <pc:sldMk cId="1196946110" sldId="2147473336"/>
            <ac:spMk id="6" creationId="{7DF36DC9-D3C6-2E10-40FB-52D9AF674B1F}"/>
          </ac:spMkLst>
        </pc:spChg>
        <pc:picChg chg="add del mod">
          <ac:chgData name="Wankhede, Revati Sharad" userId="S::rew158@pitt.edu::d1d1d99c-52bd-4e18-b627-649863e8685d" providerId="AD" clId="Web-{25A6EBCD-A287-2E0D-20C6-7BBCEBE6473C}" dt="2025-04-20T19:19:09.758" v="202"/>
          <ac:picMkLst>
            <pc:docMk/>
            <pc:sldMk cId="1196946110" sldId="2147473336"/>
            <ac:picMk id="3" creationId="{DF04CE42-D799-C209-60D4-7FEF8C77E364}"/>
          </ac:picMkLst>
        </pc:picChg>
        <pc:picChg chg="del mod">
          <ac:chgData name="Wankhede, Revati Sharad" userId="S::rew158@pitt.edu::d1d1d99c-52bd-4e18-b627-649863e8685d" providerId="AD" clId="Web-{25A6EBCD-A287-2E0D-20C6-7BBCEBE6473C}" dt="2025-04-20T19:16:22.424" v="176"/>
          <ac:picMkLst>
            <pc:docMk/>
            <pc:sldMk cId="1196946110" sldId="2147473336"/>
            <ac:picMk id="4" creationId="{FD746233-9FBB-DE85-7D67-260BE940CDCF}"/>
          </ac:picMkLst>
        </pc:picChg>
        <pc:picChg chg="add mod modCrop">
          <ac:chgData name="Wankhede, Revati Sharad" userId="S::rew158@pitt.edu::d1d1d99c-52bd-4e18-b627-649863e8685d" providerId="AD" clId="Web-{25A6EBCD-A287-2E0D-20C6-7BBCEBE6473C}" dt="2025-04-20T19:19:43.057" v="209" actId="1076"/>
          <ac:picMkLst>
            <pc:docMk/>
            <pc:sldMk cId="1196946110" sldId="2147473336"/>
            <ac:picMk id="7" creationId="{EEDDAF02-7937-F7B7-B5BB-F349B4521C2E}"/>
          </ac:picMkLst>
        </pc:picChg>
      </pc:sldChg>
      <pc:sldChg chg="modSp add ord replId">
        <pc:chgData name="Wankhede, Revati Sharad" userId="S::rew158@pitt.edu::d1d1d99c-52bd-4e18-b627-649863e8685d" providerId="AD" clId="Web-{25A6EBCD-A287-2E0D-20C6-7BBCEBE6473C}" dt="2025-04-20T19:32:07.583" v="275" actId="20577"/>
        <pc:sldMkLst>
          <pc:docMk/>
          <pc:sldMk cId="3068515157" sldId="2147473337"/>
        </pc:sldMkLst>
        <pc:spChg chg="mod">
          <ac:chgData name="Wankhede, Revati Sharad" userId="S::rew158@pitt.edu::d1d1d99c-52bd-4e18-b627-649863e8685d" providerId="AD" clId="Web-{25A6EBCD-A287-2E0D-20C6-7BBCEBE6473C}" dt="2025-04-20T19:31:53.161" v="256" actId="20577"/>
          <ac:spMkLst>
            <pc:docMk/>
            <pc:sldMk cId="3068515157" sldId="2147473337"/>
            <ac:spMk id="2" creationId="{3AE95664-DB63-5AA5-6BD3-8B5183EAD495}"/>
          </ac:spMkLst>
        </pc:spChg>
        <pc:spChg chg="mod">
          <ac:chgData name="Wankhede, Revati Sharad" userId="S::rew158@pitt.edu::d1d1d99c-52bd-4e18-b627-649863e8685d" providerId="AD" clId="Web-{25A6EBCD-A287-2E0D-20C6-7BBCEBE6473C}" dt="2025-04-20T19:32:07.583" v="275" actId="20577"/>
          <ac:spMkLst>
            <pc:docMk/>
            <pc:sldMk cId="3068515157" sldId="2147473337"/>
            <ac:spMk id="3" creationId="{6C1342F9-189A-AAEF-24CC-2C89BC3482F7}"/>
          </ac:spMkLst>
        </pc:spChg>
      </pc:sldChg>
    </pc:docChg>
  </pc:docChgLst>
  <pc:docChgLst>
    <pc:chgData name="Hsiao, Azure" userId="S::yih197@pitt.edu::57a12e0c-a4a1-4334-ab7f-af711050c8c8" providerId="AD" clId="Web-{E2A5A3D6-72DF-1D9D-959D-EED6DDF3DA3A}"/>
    <pc:docChg chg="modSld">
      <pc:chgData name="Hsiao, Azure" userId="S::yih197@pitt.edu::57a12e0c-a4a1-4334-ab7f-af711050c8c8" providerId="AD" clId="Web-{E2A5A3D6-72DF-1D9D-959D-EED6DDF3DA3A}" dt="2025-04-19T18:01:02.549" v="27" actId="1076"/>
      <pc:docMkLst>
        <pc:docMk/>
      </pc:docMkLst>
      <pc:sldChg chg="addSp delSp modSp">
        <pc:chgData name="Hsiao, Azure" userId="S::yih197@pitt.edu::57a12e0c-a4a1-4334-ab7f-af711050c8c8" providerId="AD" clId="Web-{E2A5A3D6-72DF-1D9D-959D-EED6DDF3DA3A}" dt="2025-04-19T18:01:02.549" v="27" actId="1076"/>
        <pc:sldMkLst>
          <pc:docMk/>
          <pc:sldMk cId="64473403" sldId="2147473316"/>
        </pc:sldMkLst>
        <pc:picChg chg="add mod modCrop">
          <ac:chgData name="Hsiao, Azure" userId="S::yih197@pitt.edu::57a12e0c-a4a1-4334-ab7f-af711050c8c8" providerId="AD" clId="Web-{E2A5A3D6-72DF-1D9D-959D-EED6DDF3DA3A}" dt="2025-04-19T17:48:40.002" v="14"/>
          <ac:picMkLst>
            <pc:docMk/>
            <pc:sldMk cId="64473403" sldId="2147473316"/>
            <ac:picMk id="3" creationId="{CEF40BBF-C8BF-A1C2-35AE-0E803A483FD1}"/>
          </ac:picMkLst>
        </pc:picChg>
        <pc:picChg chg="add mod modCrop">
          <ac:chgData name="Hsiao, Azure" userId="S::yih197@pitt.edu::57a12e0c-a4a1-4334-ab7f-af711050c8c8" providerId="AD" clId="Web-{E2A5A3D6-72DF-1D9D-959D-EED6DDF3DA3A}" dt="2025-04-19T18:00:58.064" v="26" actId="1076"/>
          <ac:picMkLst>
            <pc:docMk/>
            <pc:sldMk cId="64473403" sldId="2147473316"/>
            <ac:picMk id="4" creationId="{151985C1-910E-39E5-DF18-4301A44959DE}"/>
          </ac:picMkLst>
        </pc:picChg>
        <pc:picChg chg="mod">
          <ac:chgData name="Hsiao, Azure" userId="S::yih197@pitt.edu::57a12e0c-a4a1-4334-ab7f-af711050c8c8" providerId="AD" clId="Web-{E2A5A3D6-72DF-1D9D-959D-EED6DDF3DA3A}" dt="2025-04-19T18:01:02.549" v="27" actId="1076"/>
          <ac:picMkLst>
            <pc:docMk/>
            <pc:sldMk cId="64473403" sldId="2147473316"/>
            <ac:picMk id="17" creationId="{E1BC41EF-0229-0C7B-3359-BF1403AB6809}"/>
          </ac:picMkLst>
        </pc:picChg>
        <pc:picChg chg="del">
          <ac:chgData name="Hsiao, Azure" userId="S::yih197@pitt.edu::57a12e0c-a4a1-4334-ab7f-af711050c8c8" providerId="AD" clId="Web-{E2A5A3D6-72DF-1D9D-959D-EED6DDF3DA3A}" dt="2025-04-19T17:47:33" v="4"/>
          <ac:picMkLst>
            <pc:docMk/>
            <pc:sldMk cId="64473403" sldId="2147473316"/>
            <ac:picMk id="19" creationId="{B9471A3C-1DE8-CCD3-D173-710491B171E7}"/>
          </ac:picMkLst>
        </pc:picChg>
        <pc:picChg chg="del">
          <ac:chgData name="Hsiao, Azure" userId="S::yih197@pitt.edu::57a12e0c-a4a1-4334-ab7f-af711050c8c8" providerId="AD" clId="Web-{E2A5A3D6-72DF-1D9D-959D-EED6DDF3DA3A}" dt="2025-04-19T18:00:32.782" v="20"/>
          <ac:picMkLst>
            <pc:docMk/>
            <pc:sldMk cId="64473403" sldId="2147473316"/>
            <ac:picMk id="27" creationId="{9CCFCEE4-976E-CF11-01E3-1A43703CF103}"/>
          </ac:picMkLst>
        </pc:picChg>
      </pc:sldChg>
    </pc:docChg>
  </pc:docChgLst>
  <pc:docChgLst>
    <pc:chgData name="Wankhede, Revati Sharad" userId="S::rew158@pitt.edu::d1d1d99c-52bd-4e18-b627-649863e8685d" providerId="AD" clId="Web-{D69F2103-5A66-F9B4-4F59-B1F68B6FA3BD}"/>
    <pc:docChg chg="addSld delSld modSld">
      <pc:chgData name="Wankhede, Revati Sharad" userId="S::rew158@pitt.edu::d1d1d99c-52bd-4e18-b627-649863e8685d" providerId="AD" clId="Web-{D69F2103-5A66-F9B4-4F59-B1F68B6FA3BD}" dt="2025-04-19T22:06:39.528" v="300" actId="20577"/>
      <pc:docMkLst>
        <pc:docMk/>
      </pc:docMkLst>
      <pc:sldChg chg="addSp delSp modSp">
        <pc:chgData name="Wankhede, Revati Sharad" userId="S::rew158@pitt.edu::d1d1d99c-52bd-4e18-b627-649863e8685d" providerId="AD" clId="Web-{D69F2103-5A66-F9B4-4F59-B1F68B6FA3BD}" dt="2025-04-19T21:52:16.105" v="187"/>
        <pc:sldMkLst>
          <pc:docMk/>
          <pc:sldMk cId="956446626" sldId="2147473315"/>
        </pc:sldMkLst>
        <pc:picChg chg="add del mod">
          <ac:chgData name="Wankhede, Revati Sharad" userId="S::rew158@pitt.edu::d1d1d99c-52bd-4e18-b627-649863e8685d" providerId="AD" clId="Web-{D69F2103-5A66-F9B4-4F59-B1F68B6FA3BD}" dt="2025-04-19T21:52:16.105" v="187"/>
          <ac:picMkLst>
            <pc:docMk/>
            <pc:sldMk cId="956446626" sldId="2147473315"/>
            <ac:picMk id="4" creationId="{AFD1E131-FD01-0E99-4C3A-FAD1C11961FD}"/>
          </ac:picMkLst>
        </pc:picChg>
      </pc:sldChg>
      <pc:sldChg chg="modSp">
        <pc:chgData name="Wankhede, Revati Sharad" userId="S::rew158@pitt.edu::d1d1d99c-52bd-4e18-b627-649863e8685d" providerId="AD" clId="Web-{D69F2103-5A66-F9B4-4F59-B1F68B6FA3BD}" dt="2025-04-19T21:43:57.213" v="72" actId="20577"/>
        <pc:sldMkLst>
          <pc:docMk/>
          <pc:sldMk cId="219299312" sldId="2147473317"/>
        </pc:sldMkLst>
        <pc:spChg chg="mod">
          <ac:chgData name="Wankhede, Revati Sharad" userId="S::rew158@pitt.edu::d1d1d99c-52bd-4e18-b627-649863e8685d" providerId="AD" clId="Web-{D69F2103-5A66-F9B4-4F59-B1F68B6FA3BD}" dt="2025-04-19T21:43:57.213" v="72" actId="20577"/>
          <ac:spMkLst>
            <pc:docMk/>
            <pc:sldMk cId="219299312" sldId="2147473317"/>
            <ac:spMk id="2" creationId="{C6BE4C9A-BDBC-970A-3DE0-0D87DCEFBFF9}"/>
          </ac:spMkLst>
        </pc:spChg>
      </pc:sldChg>
      <pc:sldChg chg="addSp modSp">
        <pc:chgData name="Wankhede, Revati Sharad" userId="S::rew158@pitt.edu::d1d1d99c-52bd-4e18-b627-649863e8685d" providerId="AD" clId="Web-{D69F2103-5A66-F9B4-4F59-B1F68B6FA3BD}" dt="2025-04-19T22:05:47.992" v="275" actId="20577"/>
        <pc:sldMkLst>
          <pc:docMk/>
          <pc:sldMk cId="3240406354" sldId="2147473320"/>
        </pc:sldMkLst>
        <pc:spChg chg="mod">
          <ac:chgData name="Wankhede, Revati Sharad" userId="S::rew158@pitt.edu::d1d1d99c-52bd-4e18-b627-649863e8685d" providerId="AD" clId="Web-{D69F2103-5A66-F9B4-4F59-B1F68B6FA3BD}" dt="2025-04-19T22:05:47.992" v="275" actId="20577"/>
          <ac:spMkLst>
            <pc:docMk/>
            <pc:sldMk cId="3240406354" sldId="2147473320"/>
            <ac:spMk id="2" creationId="{563D8549-0A3F-288E-A38A-C03D41F16D09}"/>
          </ac:spMkLst>
        </pc:spChg>
        <pc:spChg chg="add mod">
          <ac:chgData name="Wankhede, Revati Sharad" userId="S::rew158@pitt.edu::d1d1d99c-52bd-4e18-b627-649863e8685d" providerId="AD" clId="Web-{D69F2103-5A66-F9B4-4F59-B1F68B6FA3BD}" dt="2025-04-19T22:05:18.538" v="254" actId="20577"/>
          <ac:spMkLst>
            <pc:docMk/>
            <pc:sldMk cId="3240406354" sldId="2147473320"/>
            <ac:spMk id="3" creationId="{A19D41BD-AB16-6FFB-FBC5-3F5F881980E8}"/>
          </ac:spMkLst>
        </pc:spChg>
      </pc:sldChg>
      <pc:sldChg chg="addSp modSp add replId">
        <pc:chgData name="Wankhede, Revati Sharad" userId="S::rew158@pitt.edu::d1d1d99c-52bd-4e18-b627-649863e8685d" providerId="AD" clId="Web-{D69F2103-5A66-F9B4-4F59-B1F68B6FA3BD}" dt="2025-04-19T21:47:30.532" v="134" actId="20577"/>
        <pc:sldMkLst>
          <pc:docMk/>
          <pc:sldMk cId="2096876042" sldId="2147473321"/>
        </pc:sldMkLst>
        <pc:spChg chg="mod">
          <ac:chgData name="Wankhede, Revati Sharad" userId="S::rew158@pitt.edu::d1d1d99c-52bd-4e18-b627-649863e8685d" providerId="AD" clId="Web-{D69F2103-5A66-F9B4-4F59-B1F68B6FA3BD}" dt="2025-04-19T21:44:21.354" v="76" actId="20577"/>
          <ac:spMkLst>
            <pc:docMk/>
            <pc:sldMk cId="2096876042" sldId="2147473321"/>
            <ac:spMk id="2" creationId="{130C3B13-F67C-A06C-CDCD-6AAA712BFE82}"/>
          </ac:spMkLst>
        </pc:spChg>
        <pc:spChg chg="add mod">
          <ac:chgData name="Wankhede, Revati Sharad" userId="S::rew158@pitt.edu::d1d1d99c-52bd-4e18-b627-649863e8685d" providerId="AD" clId="Web-{D69F2103-5A66-F9B4-4F59-B1F68B6FA3BD}" dt="2025-04-19T21:47:30.532" v="134" actId="20577"/>
          <ac:spMkLst>
            <pc:docMk/>
            <pc:sldMk cId="2096876042" sldId="2147473321"/>
            <ac:spMk id="3" creationId="{789A6009-C1EA-D1BB-00EF-066A6D3174A3}"/>
          </ac:spMkLst>
        </pc:spChg>
      </pc:sldChg>
      <pc:sldChg chg="modSp add replId">
        <pc:chgData name="Wankhede, Revati Sharad" userId="S::rew158@pitt.edu::d1d1d99c-52bd-4e18-b627-649863e8685d" providerId="AD" clId="Web-{D69F2103-5A66-F9B4-4F59-B1F68B6FA3BD}" dt="2025-04-19T21:44:31.636" v="83" actId="20577"/>
        <pc:sldMkLst>
          <pc:docMk/>
          <pc:sldMk cId="588146936" sldId="2147473322"/>
        </pc:sldMkLst>
        <pc:spChg chg="mod">
          <ac:chgData name="Wankhede, Revati Sharad" userId="S::rew158@pitt.edu::d1d1d99c-52bd-4e18-b627-649863e8685d" providerId="AD" clId="Web-{D69F2103-5A66-F9B4-4F59-B1F68B6FA3BD}" dt="2025-04-19T21:44:31.636" v="83" actId="20577"/>
          <ac:spMkLst>
            <pc:docMk/>
            <pc:sldMk cId="588146936" sldId="2147473322"/>
            <ac:spMk id="2" creationId="{3060F1BA-553B-A0A3-F4C7-3AA45A221115}"/>
          </ac:spMkLst>
        </pc:spChg>
      </pc:sldChg>
      <pc:sldChg chg="addSp modSp add replId">
        <pc:chgData name="Wankhede, Revati Sharad" userId="S::rew158@pitt.edu::d1d1d99c-52bd-4e18-b627-649863e8685d" providerId="AD" clId="Web-{D69F2103-5A66-F9B4-4F59-B1F68B6FA3BD}" dt="2025-04-19T21:50:59.399" v="185" actId="20577"/>
        <pc:sldMkLst>
          <pc:docMk/>
          <pc:sldMk cId="1939484485" sldId="2147473323"/>
        </pc:sldMkLst>
        <pc:spChg chg="mod">
          <ac:chgData name="Wankhede, Revati Sharad" userId="S::rew158@pitt.edu::d1d1d99c-52bd-4e18-b627-649863e8685d" providerId="AD" clId="Web-{D69F2103-5A66-F9B4-4F59-B1F68B6FA3BD}" dt="2025-04-19T21:44:47.183" v="104" actId="20577"/>
          <ac:spMkLst>
            <pc:docMk/>
            <pc:sldMk cId="1939484485" sldId="2147473323"/>
            <ac:spMk id="2" creationId="{4776F19C-1E85-12AF-AE51-B0FC68B3A124}"/>
          </ac:spMkLst>
        </pc:spChg>
        <pc:spChg chg="add mod">
          <ac:chgData name="Wankhede, Revati Sharad" userId="S::rew158@pitt.edu::d1d1d99c-52bd-4e18-b627-649863e8685d" providerId="AD" clId="Web-{D69F2103-5A66-F9B4-4F59-B1F68B6FA3BD}" dt="2025-04-19T21:50:59.399" v="185" actId="20577"/>
          <ac:spMkLst>
            <pc:docMk/>
            <pc:sldMk cId="1939484485" sldId="2147473323"/>
            <ac:spMk id="4" creationId="{253FC4A7-C396-5E06-34D1-49F0C7DD0E93}"/>
          </ac:spMkLst>
        </pc:spChg>
      </pc:sldChg>
      <pc:sldChg chg="delSp modSp add replId">
        <pc:chgData name="Wankhede, Revati Sharad" userId="S::rew158@pitt.edu::d1d1d99c-52bd-4e18-b627-649863e8685d" providerId="AD" clId="Web-{D69F2103-5A66-F9B4-4F59-B1F68B6FA3BD}" dt="2025-04-19T21:48:23.956" v="142" actId="20577"/>
        <pc:sldMkLst>
          <pc:docMk/>
          <pc:sldMk cId="247662777" sldId="2147473324"/>
        </pc:sldMkLst>
        <pc:spChg chg="mod">
          <ac:chgData name="Wankhede, Revati Sharad" userId="S::rew158@pitt.edu::d1d1d99c-52bd-4e18-b627-649863e8685d" providerId="AD" clId="Web-{D69F2103-5A66-F9B4-4F59-B1F68B6FA3BD}" dt="2025-04-19T21:48:23.956" v="142" actId="20577"/>
          <ac:spMkLst>
            <pc:docMk/>
            <pc:sldMk cId="247662777" sldId="2147473324"/>
            <ac:spMk id="2" creationId="{8F6E3A84-BDCB-564D-0DD1-669D3BEE03CB}"/>
          </ac:spMkLst>
        </pc:spChg>
        <pc:spChg chg="del">
          <ac:chgData name="Wankhede, Revati Sharad" userId="S::rew158@pitt.edu::d1d1d99c-52bd-4e18-b627-649863e8685d" providerId="AD" clId="Web-{D69F2103-5A66-F9B4-4F59-B1F68B6FA3BD}" dt="2025-04-19T21:48:17.034" v="136"/>
          <ac:spMkLst>
            <pc:docMk/>
            <pc:sldMk cId="247662777" sldId="2147473324"/>
            <ac:spMk id="3" creationId="{6E30DC9D-C8DC-6A0B-CD22-182DEBDBAB39}"/>
          </ac:spMkLst>
        </pc:spChg>
      </pc:sldChg>
      <pc:sldChg chg="modSp add replId">
        <pc:chgData name="Wankhede, Revati Sharad" userId="S::rew158@pitt.edu::d1d1d99c-52bd-4e18-b627-649863e8685d" providerId="AD" clId="Web-{D69F2103-5A66-F9B4-4F59-B1F68B6FA3BD}" dt="2025-04-19T21:48:50.207" v="151" actId="20577"/>
        <pc:sldMkLst>
          <pc:docMk/>
          <pc:sldMk cId="68559176" sldId="2147473325"/>
        </pc:sldMkLst>
        <pc:spChg chg="mod">
          <ac:chgData name="Wankhede, Revati Sharad" userId="S::rew158@pitt.edu::d1d1d99c-52bd-4e18-b627-649863e8685d" providerId="AD" clId="Web-{D69F2103-5A66-F9B4-4F59-B1F68B6FA3BD}" dt="2025-04-19T21:48:50.207" v="151" actId="20577"/>
          <ac:spMkLst>
            <pc:docMk/>
            <pc:sldMk cId="68559176" sldId="2147473325"/>
            <ac:spMk id="2" creationId="{A684FD1D-6D6D-F5B5-F9E6-68DE12170668}"/>
          </ac:spMkLst>
        </pc:spChg>
      </pc:sldChg>
      <pc:sldChg chg="modSp add replId">
        <pc:chgData name="Wankhede, Revati Sharad" userId="S::rew158@pitt.edu::d1d1d99c-52bd-4e18-b627-649863e8685d" providerId="AD" clId="Web-{D69F2103-5A66-F9B4-4F59-B1F68B6FA3BD}" dt="2025-04-19T21:49:30.802" v="164" actId="20577"/>
        <pc:sldMkLst>
          <pc:docMk/>
          <pc:sldMk cId="3608760087" sldId="2147473326"/>
        </pc:sldMkLst>
        <pc:spChg chg="mod">
          <ac:chgData name="Wankhede, Revati Sharad" userId="S::rew158@pitt.edu::d1d1d99c-52bd-4e18-b627-649863e8685d" providerId="AD" clId="Web-{D69F2103-5A66-F9B4-4F59-B1F68B6FA3BD}" dt="2025-04-19T21:49:30.802" v="164" actId="20577"/>
          <ac:spMkLst>
            <pc:docMk/>
            <pc:sldMk cId="3608760087" sldId="2147473326"/>
            <ac:spMk id="2" creationId="{7D4E7CA2-985C-72C0-95EF-25B35E7E15C4}"/>
          </ac:spMkLst>
        </pc:spChg>
      </pc:sldChg>
      <pc:sldChg chg="addSp delSp modSp add mod replId setBg">
        <pc:chgData name="Wankhede, Revati Sharad" userId="S::rew158@pitt.edu::d1d1d99c-52bd-4e18-b627-649863e8685d" providerId="AD" clId="Web-{D69F2103-5A66-F9B4-4F59-B1F68B6FA3BD}" dt="2025-04-19T22:00:17.075" v="221"/>
        <pc:sldMkLst>
          <pc:docMk/>
          <pc:sldMk cId="576765263" sldId="2147473327"/>
        </pc:sldMkLst>
        <pc:spChg chg="add mod ord">
          <ac:chgData name="Wankhede, Revati Sharad" userId="S::rew158@pitt.edu::d1d1d99c-52bd-4e18-b627-649863e8685d" providerId="AD" clId="Web-{D69F2103-5A66-F9B4-4F59-B1F68B6FA3BD}" dt="2025-04-19T22:00:17.075" v="221"/>
          <ac:spMkLst>
            <pc:docMk/>
            <pc:sldMk cId="576765263" sldId="2147473327"/>
            <ac:spMk id="6" creationId="{8099E983-114C-6520-4DB2-DD88258B8AF7}"/>
          </ac:spMkLst>
        </pc:spChg>
        <pc:spChg chg="ord">
          <ac:chgData name="Wankhede, Revati Sharad" userId="S::rew158@pitt.edu::d1d1d99c-52bd-4e18-b627-649863e8685d" providerId="AD" clId="Web-{D69F2103-5A66-F9B4-4F59-B1F68B6FA3BD}" dt="2025-04-19T21:55:57.878" v="197"/>
          <ac:spMkLst>
            <pc:docMk/>
            <pc:sldMk cId="576765263" sldId="2147473327"/>
            <ac:spMk id="29" creationId="{74A76257-4A76-05C5-53AF-EDB7B58243FE}"/>
          </ac:spMkLst>
        </pc:spChg>
        <pc:grpChg chg="del">
          <ac:chgData name="Wankhede, Revati Sharad" userId="S::rew158@pitt.edu::d1d1d99c-52bd-4e18-b627-649863e8685d" providerId="AD" clId="Web-{D69F2103-5A66-F9B4-4F59-B1F68B6FA3BD}" dt="2025-04-19T21:56:29.629" v="198"/>
          <ac:grpSpMkLst>
            <pc:docMk/>
            <pc:sldMk cId="576765263" sldId="2147473327"/>
            <ac:grpSpMk id="30" creationId="{9AB89CF8-6F45-7D95-BFE2-C3C3E9C80A01}"/>
          </ac:grpSpMkLst>
        </pc:grpChg>
        <pc:grpChg chg="del">
          <ac:chgData name="Wankhede, Revati Sharad" userId="S::rew158@pitt.edu::d1d1d99c-52bd-4e18-b627-649863e8685d" providerId="AD" clId="Web-{D69F2103-5A66-F9B4-4F59-B1F68B6FA3BD}" dt="2025-04-19T21:54:13.125" v="191"/>
          <ac:grpSpMkLst>
            <pc:docMk/>
            <pc:sldMk cId="576765263" sldId="2147473327"/>
            <ac:grpSpMk id="32" creationId="{3B085D8D-E505-CE59-4AF4-85C401D63977}"/>
          </ac:grpSpMkLst>
        </pc:grpChg>
        <pc:picChg chg="add del mod">
          <ac:chgData name="Wankhede, Revati Sharad" userId="S::rew158@pitt.edu::d1d1d99c-52bd-4e18-b627-649863e8685d" providerId="AD" clId="Web-{D69F2103-5A66-F9B4-4F59-B1F68B6FA3BD}" dt="2025-04-19T21:54:04.202" v="190"/>
          <ac:picMkLst>
            <pc:docMk/>
            <pc:sldMk cId="576765263" sldId="2147473327"/>
            <ac:picMk id="4" creationId="{2F7A4A18-E230-0A53-9706-1BCE601B1143}"/>
          </ac:picMkLst>
        </pc:picChg>
        <pc:picChg chg="add del mod ord">
          <ac:chgData name="Wankhede, Revati Sharad" userId="S::rew158@pitt.edu::d1d1d99c-52bd-4e18-b627-649863e8685d" providerId="AD" clId="Web-{D69F2103-5A66-F9B4-4F59-B1F68B6FA3BD}" dt="2025-04-19T21:56:33.817" v="199"/>
          <ac:picMkLst>
            <pc:docMk/>
            <pc:sldMk cId="576765263" sldId="2147473327"/>
            <ac:picMk id="5" creationId="{979D769E-9C5D-7858-5F9E-943B4DBAE558}"/>
          </ac:picMkLst>
        </pc:picChg>
      </pc:sldChg>
      <pc:sldChg chg="addSp delSp modSp add del replId">
        <pc:chgData name="Wankhede, Revati Sharad" userId="S::rew158@pitt.edu::d1d1d99c-52bd-4e18-b627-649863e8685d" providerId="AD" clId="Web-{D69F2103-5A66-F9B4-4F59-B1F68B6FA3BD}" dt="2025-04-19T21:58:26.133" v="205"/>
        <pc:sldMkLst>
          <pc:docMk/>
          <pc:sldMk cId="1067606975" sldId="2147473328"/>
        </pc:sldMkLst>
        <pc:spChg chg="add del mod">
          <ac:chgData name="Wankhede, Revati Sharad" userId="S::rew158@pitt.edu::d1d1d99c-52bd-4e18-b627-649863e8685d" providerId="AD" clId="Web-{D69F2103-5A66-F9B4-4F59-B1F68B6FA3BD}" dt="2025-04-19T21:58:23.039" v="204"/>
          <ac:spMkLst>
            <pc:docMk/>
            <pc:sldMk cId="1067606975" sldId="2147473328"/>
            <ac:spMk id="2" creationId="{EEA61072-32A5-4656-2B37-029145C557BF}"/>
          </ac:spMkLst>
        </pc:spChg>
        <pc:spChg chg="add del mod">
          <ac:chgData name="Wankhede, Revati Sharad" userId="S::rew158@pitt.edu::d1d1d99c-52bd-4e18-b627-649863e8685d" providerId="AD" clId="Web-{D69F2103-5A66-F9B4-4F59-B1F68B6FA3BD}" dt="2025-04-19T21:57:35.600" v="202"/>
          <ac:spMkLst>
            <pc:docMk/>
            <pc:sldMk cId="1067606975" sldId="2147473328"/>
            <ac:spMk id="5" creationId="{FF6EC5FD-DB8E-CCE1-0E04-BE01AA4DD873}"/>
          </ac:spMkLst>
        </pc:spChg>
      </pc:sldChg>
      <pc:sldChg chg="addSp delSp modSp add del replId">
        <pc:chgData name="Wankhede, Revati Sharad" userId="S::rew158@pitt.edu::d1d1d99c-52bd-4e18-b627-649863e8685d" providerId="AD" clId="Web-{D69F2103-5A66-F9B4-4F59-B1F68B6FA3BD}" dt="2025-04-19T22:02:54.424" v="250"/>
        <pc:sldMkLst>
          <pc:docMk/>
          <pc:sldMk cId="2000477167" sldId="2147473328"/>
        </pc:sldMkLst>
        <pc:spChg chg="del">
          <ac:chgData name="Wankhede, Revati Sharad" userId="S::rew158@pitt.edu::d1d1d99c-52bd-4e18-b627-649863e8685d" providerId="AD" clId="Web-{D69F2103-5A66-F9B4-4F59-B1F68B6FA3BD}" dt="2025-04-19T22:00:41.044" v="224"/>
          <ac:spMkLst>
            <pc:docMk/>
            <pc:sldMk cId="2000477167" sldId="2147473328"/>
            <ac:spMk id="2" creationId="{300B2539-556B-5A30-405D-4D796262D6C5}"/>
          </ac:spMkLst>
        </pc:spChg>
        <pc:spChg chg="del">
          <ac:chgData name="Wankhede, Revati Sharad" userId="S::rew158@pitt.edu::d1d1d99c-52bd-4e18-b627-649863e8685d" providerId="AD" clId="Web-{D69F2103-5A66-F9B4-4F59-B1F68B6FA3BD}" dt="2025-04-19T22:00:45.357" v="225"/>
          <ac:spMkLst>
            <pc:docMk/>
            <pc:sldMk cId="2000477167" sldId="2147473328"/>
            <ac:spMk id="3" creationId="{95A4CFC0-401D-C35F-B981-B69D2CAF3A0F}"/>
          </ac:spMkLst>
        </pc:spChg>
        <pc:spChg chg="add del mod">
          <ac:chgData name="Wankhede, Revati Sharad" userId="S::rew158@pitt.edu::d1d1d99c-52bd-4e18-b627-649863e8685d" providerId="AD" clId="Web-{D69F2103-5A66-F9B4-4F59-B1F68B6FA3BD}" dt="2025-04-19T22:00:49.982" v="226"/>
          <ac:spMkLst>
            <pc:docMk/>
            <pc:sldMk cId="2000477167" sldId="2147473328"/>
            <ac:spMk id="5" creationId="{E14A4122-EDD6-E803-FC97-6163DD0D20D9}"/>
          </ac:spMkLst>
        </pc:spChg>
        <pc:spChg chg="del">
          <ac:chgData name="Wankhede, Revati Sharad" userId="S::rew158@pitt.edu::d1d1d99c-52bd-4e18-b627-649863e8685d" providerId="AD" clId="Web-{D69F2103-5A66-F9B4-4F59-B1F68B6FA3BD}" dt="2025-04-19T22:00:37.357" v="223"/>
          <ac:spMkLst>
            <pc:docMk/>
            <pc:sldMk cId="2000477167" sldId="2147473328"/>
            <ac:spMk id="6" creationId="{FBEEED8D-5246-CF5A-A606-BDCB310A91CD}"/>
          </ac:spMkLst>
        </pc:spChg>
        <pc:spChg chg="add del mod">
          <ac:chgData name="Wankhede, Revati Sharad" userId="S::rew158@pitt.edu::d1d1d99c-52bd-4e18-b627-649863e8685d" providerId="AD" clId="Web-{D69F2103-5A66-F9B4-4F59-B1F68B6FA3BD}" dt="2025-04-19T22:00:54.185" v="227"/>
          <ac:spMkLst>
            <pc:docMk/>
            <pc:sldMk cId="2000477167" sldId="2147473328"/>
            <ac:spMk id="8" creationId="{33E22CC2-C6A8-15EB-D93C-979558A3DC90}"/>
          </ac:spMkLst>
        </pc:spChg>
      </pc:sldChg>
      <pc:sldChg chg="addSp modSp new mod setBg setClrOvrMap">
        <pc:chgData name="Wankhede, Revati Sharad" userId="S::rew158@pitt.edu::d1d1d99c-52bd-4e18-b627-649863e8685d" providerId="AD" clId="Web-{D69F2103-5A66-F9B4-4F59-B1F68B6FA3BD}" dt="2025-04-19T22:02:47.205" v="249" actId="20577"/>
        <pc:sldMkLst>
          <pc:docMk/>
          <pc:sldMk cId="4248029138" sldId="2147473329"/>
        </pc:sldMkLst>
        <pc:spChg chg="mod">
          <ac:chgData name="Wankhede, Revati Sharad" userId="S::rew158@pitt.edu::d1d1d99c-52bd-4e18-b627-649863e8685d" providerId="AD" clId="Web-{D69F2103-5A66-F9B4-4F59-B1F68B6FA3BD}" dt="2025-04-19T22:01:54.578" v="242" actId="20577"/>
          <ac:spMkLst>
            <pc:docMk/>
            <pc:sldMk cId="4248029138" sldId="2147473329"/>
            <ac:spMk id="2" creationId="{28D1AB70-4588-FACE-1A5A-11FABF58606C}"/>
          </ac:spMkLst>
        </pc:spChg>
        <pc:spChg chg="mod">
          <ac:chgData name="Wankhede, Revati Sharad" userId="S::rew158@pitt.edu::d1d1d99c-52bd-4e18-b627-649863e8685d" providerId="AD" clId="Web-{D69F2103-5A66-F9B4-4F59-B1F68B6FA3BD}" dt="2025-04-19T22:02:47.205" v="249" actId="20577"/>
          <ac:spMkLst>
            <pc:docMk/>
            <pc:sldMk cId="4248029138" sldId="2147473329"/>
            <ac:spMk id="3" creationId="{C307EE58-4134-2D27-F654-713B4F4AD881}"/>
          </ac:spMkLst>
        </pc:spChg>
        <pc:spChg chg="add">
          <ac:chgData name="Wankhede, Revati Sharad" userId="S::rew158@pitt.edu::d1d1d99c-52bd-4e18-b627-649863e8685d" providerId="AD" clId="Web-{D69F2103-5A66-F9B4-4F59-B1F68B6FA3BD}" dt="2025-04-19T22:01:33.983" v="231"/>
          <ac:spMkLst>
            <pc:docMk/>
            <pc:sldMk cId="4248029138" sldId="2147473329"/>
            <ac:spMk id="9" creationId="{71B2258F-86CA-4D4D-8270-BC05FCDEBFB3}"/>
          </ac:spMkLst>
        </pc:spChg>
        <pc:picChg chg="add mod ord">
          <ac:chgData name="Wankhede, Revati Sharad" userId="S::rew158@pitt.edu::d1d1d99c-52bd-4e18-b627-649863e8685d" providerId="AD" clId="Web-{D69F2103-5A66-F9B4-4F59-B1F68B6FA3BD}" dt="2025-04-19T22:01:33.983" v="231"/>
          <ac:picMkLst>
            <pc:docMk/>
            <pc:sldMk cId="4248029138" sldId="2147473329"/>
            <ac:picMk id="4" creationId="{29A4C1B3-33A1-A703-1BC9-24E97B3B0390}"/>
          </ac:picMkLst>
        </pc:picChg>
      </pc:sldChg>
      <pc:sldChg chg="addSp modSp add replId">
        <pc:chgData name="Wankhede, Revati Sharad" userId="S::rew158@pitt.edu::d1d1d99c-52bd-4e18-b627-649863e8685d" providerId="AD" clId="Web-{D69F2103-5A66-F9B4-4F59-B1F68B6FA3BD}" dt="2025-04-19T22:06:39.528" v="300" actId="20577"/>
        <pc:sldMkLst>
          <pc:docMk/>
          <pc:sldMk cId="356252971" sldId="2147473330"/>
        </pc:sldMkLst>
        <pc:spChg chg="mod">
          <ac:chgData name="Wankhede, Revati Sharad" userId="S::rew158@pitt.edu::d1d1d99c-52bd-4e18-b627-649863e8685d" providerId="AD" clId="Web-{D69F2103-5A66-F9B4-4F59-B1F68B6FA3BD}" dt="2025-04-19T22:06:13.856" v="296" actId="20577"/>
          <ac:spMkLst>
            <pc:docMk/>
            <pc:sldMk cId="356252971" sldId="2147473330"/>
            <ac:spMk id="2" creationId="{DDE268DC-3BFB-7808-8188-4BB11129E790}"/>
          </ac:spMkLst>
        </pc:spChg>
        <pc:spChg chg="add mod">
          <ac:chgData name="Wankhede, Revati Sharad" userId="S::rew158@pitt.edu::d1d1d99c-52bd-4e18-b627-649863e8685d" providerId="AD" clId="Web-{D69F2103-5A66-F9B4-4F59-B1F68B6FA3BD}" dt="2025-04-19T22:06:39.528" v="300" actId="20577"/>
          <ac:spMkLst>
            <pc:docMk/>
            <pc:sldMk cId="356252971" sldId="2147473330"/>
            <ac:spMk id="3" creationId="{64494497-0C8A-C159-B516-E28D8DE57A4A}"/>
          </ac:spMkLst>
        </pc:spChg>
      </pc:sldChg>
      <pc:sldChg chg="add replId">
        <pc:chgData name="Wankhede, Revati Sharad" userId="S::rew158@pitt.edu::d1d1d99c-52bd-4e18-b627-649863e8685d" providerId="AD" clId="Web-{D69F2103-5A66-F9B4-4F59-B1F68B6FA3BD}" dt="2025-04-19T22:05:55.805" v="276"/>
        <pc:sldMkLst>
          <pc:docMk/>
          <pc:sldMk cId="3402577392" sldId="2147473331"/>
        </pc:sldMkLst>
      </pc:sldChg>
    </pc:docChg>
  </pc:docChgLst>
  <pc:docChgLst>
    <pc:chgData name="Wankhede, Revati Sharad" userId="S::rew158@pitt.edu::d1d1d99c-52bd-4e18-b627-649863e8685d" providerId="AD" clId="Web-{588D6C58-80C3-C6BD-D642-BA5431D10B60}"/>
    <pc:docChg chg="addSld delSld modSld sldOrd">
      <pc:chgData name="Wankhede, Revati Sharad" userId="S::rew158@pitt.edu::d1d1d99c-52bd-4e18-b627-649863e8685d" providerId="AD" clId="Web-{588D6C58-80C3-C6BD-D642-BA5431D10B60}" dt="2025-04-19T17:32:39.746" v="452" actId="20577"/>
      <pc:docMkLst>
        <pc:docMk/>
      </pc:docMkLst>
      <pc:sldChg chg="del">
        <pc:chgData name="Wankhede, Revati Sharad" userId="S::rew158@pitt.edu::d1d1d99c-52bd-4e18-b627-649863e8685d" providerId="AD" clId="Web-{588D6C58-80C3-C6BD-D642-BA5431D10B60}" dt="2025-04-19T17:09:46.666" v="74"/>
        <pc:sldMkLst>
          <pc:docMk/>
          <pc:sldMk cId="3963204121" sldId="264"/>
        </pc:sldMkLst>
      </pc:sldChg>
      <pc:sldChg chg="addSp delSp modSp del">
        <pc:chgData name="Wankhede, Revati Sharad" userId="S::rew158@pitt.edu::d1d1d99c-52bd-4e18-b627-649863e8685d" providerId="AD" clId="Web-{588D6C58-80C3-C6BD-D642-BA5431D10B60}" dt="2025-04-19T17:28:47.846" v="366"/>
        <pc:sldMkLst>
          <pc:docMk/>
          <pc:sldMk cId="53263196" sldId="265"/>
        </pc:sldMkLst>
        <pc:spChg chg="add del">
          <ac:chgData name="Wankhede, Revati Sharad" userId="S::rew158@pitt.edu::d1d1d99c-52bd-4e18-b627-649863e8685d" providerId="AD" clId="Web-{588D6C58-80C3-C6BD-D642-BA5431D10B60}" dt="2025-04-19T17:09:10.587" v="67"/>
          <ac:spMkLst>
            <pc:docMk/>
            <pc:sldMk cId="53263196" sldId="265"/>
            <ac:spMk id="12" creationId="{ACAF844A-CB5C-0486-99A8-3B7DB22B80FB}"/>
          </ac:spMkLst>
        </pc:spChg>
        <pc:spChg chg="del">
          <ac:chgData name="Wankhede, Revati Sharad" userId="S::rew158@pitt.edu::d1d1d99c-52bd-4e18-b627-649863e8685d" providerId="AD" clId="Web-{588D6C58-80C3-C6BD-D642-BA5431D10B60}" dt="2025-04-19T17:08:27.601" v="3"/>
          <ac:spMkLst>
            <pc:docMk/>
            <pc:sldMk cId="53263196" sldId="265"/>
            <ac:spMk id="18" creationId="{E2CADD09-B728-9E9B-064D-DF78FC780C91}"/>
          </ac:spMkLst>
        </pc:spChg>
        <pc:spChg chg="add del mod">
          <ac:chgData name="Wankhede, Revati Sharad" userId="S::rew158@pitt.edu::d1d1d99c-52bd-4e18-b627-649863e8685d" providerId="AD" clId="Web-{588D6C58-80C3-C6BD-D642-BA5431D10B60}" dt="2025-04-19T17:28:21.423" v="346"/>
          <ac:spMkLst>
            <pc:docMk/>
            <pc:sldMk cId="53263196" sldId="265"/>
            <ac:spMk id="22" creationId="{93575653-31DD-39F6-4D9F-CFD6554BBF85}"/>
          </ac:spMkLst>
        </pc:spChg>
        <pc:spChg chg="add del mod">
          <ac:chgData name="Wankhede, Revati Sharad" userId="S::rew158@pitt.edu::d1d1d99c-52bd-4e18-b627-649863e8685d" providerId="AD" clId="Web-{588D6C58-80C3-C6BD-D642-BA5431D10B60}" dt="2025-04-19T17:28:21.579" v="350"/>
          <ac:spMkLst>
            <pc:docMk/>
            <pc:sldMk cId="53263196" sldId="265"/>
            <ac:spMk id="25" creationId="{1564FB33-78EA-3D25-6FD8-337D1C30EB2F}"/>
          </ac:spMkLst>
        </pc:spChg>
        <pc:spChg chg="add del">
          <ac:chgData name="Wankhede, Revati Sharad" userId="S::rew158@pitt.edu::d1d1d99c-52bd-4e18-b627-649863e8685d" providerId="AD" clId="Web-{588D6C58-80C3-C6BD-D642-BA5431D10B60}" dt="2025-04-19T17:09:10.587" v="65"/>
          <ac:spMkLst>
            <pc:docMk/>
            <pc:sldMk cId="53263196" sldId="265"/>
            <ac:spMk id="33" creationId="{AB5E2B7B-994C-C1C3-FC2F-6312FD417346}"/>
          </ac:spMkLst>
        </pc:spChg>
        <pc:spChg chg="add del">
          <ac:chgData name="Wankhede, Revati Sharad" userId="S::rew158@pitt.edu::d1d1d99c-52bd-4e18-b627-649863e8685d" providerId="AD" clId="Web-{588D6C58-80C3-C6BD-D642-BA5431D10B60}" dt="2025-04-19T17:09:10.587" v="62"/>
          <ac:spMkLst>
            <pc:docMk/>
            <pc:sldMk cId="53263196" sldId="265"/>
            <ac:spMk id="39" creationId="{0FD06C3D-5F3F-C0AD-4030-D8304C709569}"/>
          </ac:spMkLst>
        </pc:spChg>
        <pc:spChg chg="add del mod">
          <ac:chgData name="Wankhede, Revati Sharad" userId="S::rew158@pitt.edu::d1d1d99c-52bd-4e18-b627-649863e8685d" providerId="AD" clId="Web-{588D6C58-80C3-C6BD-D642-BA5431D10B60}" dt="2025-04-19T17:28:21.423" v="344"/>
          <ac:spMkLst>
            <pc:docMk/>
            <pc:sldMk cId="53263196" sldId="265"/>
            <ac:spMk id="42" creationId="{AC9CC7BE-4DF1-B40C-96E3-97B576E9520C}"/>
          </ac:spMkLst>
        </pc:spChg>
        <pc:spChg chg="add del mod">
          <ac:chgData name="Wankhede, Revati Sharad" userId="S::rew158@pitt.edu::d1d1d99c-52bd-4e18-b627-649863e8685d" providerId="AD" clId="Web-{588D6C58-80C3-C6BD-D642-BA5431D10B60}" dt="2025-04-19T17:28:21.423" v="345"/>
          <ac:spMkLst>
            <pc:docMk/>
            <pc:sldMk cId="53263196" sldId="265"/>
            <ac:spMk id="45" creationId="{957E2793-2C3C-B98B-0245-05819FDF2AA4}"/>
          </ac:spMkLst>
        </pc:spChg>
        <pc:spChg chg="del">
          <ac:chgData name="Wankhede, Revati Sharad" userId="S::rew158@pitt.edu::d1d1d99c-52bd-4e18-b627-649863e8685d" providerId="AD" clId="Web-{588D6C58-80C3-C6BD-D642-BA5431D10B60}" dt="2025-04-19T17:08:27.601" v="0"/>
          <ac:spMkLst>
            <pc:docMk/>
            <pc:sldMk cId="53263196" sldId="265"/>
            <ac:spMk id="53" creationId="{C005FF80-6622-42E3-8578-F53DFA41D05D}"/>
          </ac:spMkLst>
        </pc:spChg>
        <pc:picChg chg="add del mod">
          <ac:chgData name="Wankhede, Revati Sharad" userId="S::rew158@pitt.edu::d1d1d99c-52bd-4e18-b627-649863e8685d" providerId="AD" clId="Web-{588D6C58-80C3-C6BD-D642-BA5431D10B60}" dt="2025-04-19T17:28:21.423" v="348"/>
          <ac:picMkLst>
            <pc:docMk/>
            <pc:sldMk cId="53263196" sldId="265"/>
            <ac:picMk id="3" creationId="{8F26CE9D-CADA-8AC3-DAAD-10AB4039729C}"/>
          </ac:picMkLst>
        </pc:picChg>
        <pc:picChg chg="del">
          <ac:chgData name="Wankhede, Revati Sharad" userId="S::rew158@pitt.edu::d1d1d99c-52bd-4e18-b627-649863e8685d" providerId="AD" clId="Web-{588D6C58-80C3-C6BD-D642-BA5431D10B60}" dt="2025-04-19T17:08:27.601" v="2"/>
          <ac:picMkLst>
            <pc:docMk/>
            <pc:sldMk cId="53263196" sldId="265"/>
            <ac:picMk id="4" creationId="{26ECB41D-C587-E0CA-9B22-89C965AAFCBB}"/>
          </ac:picMkLst>
        </pc:picChg>
        <pc:picChg chg="add del mod">
          <ac:chgData name="Wankhede, Revati Sharad" userId="S::rew158@pitt.edu::d1d1d99c-52bd-4e18-b627-649863e8685d" providerId="AD" clId="Web-{588D6C58-80C3-C6BD-D642-BA5431D10B60}" dt="2025-04-19T17:28:21.423" v="349"/>
          <ac:picMkLst>
            <pc:docMk/>
            <pc:sldMk cId="53263196" sldId="265"/>
            <ac:picMk id="8" creationId="{B92A45CE-1AD1-684A-607F-9D269B975770}"/>
          </ac:picMkLst>
        </pc:picChg>
        <pc:picChg chg="add del">
          <ac:chgData name="Wankhede, Revati Sharad" userId="S::rew158@pitt.edu::d1d1d99c-52bd-4e18-b627-649863e8685d" providerId="AD" clId="Web-{588D6C58-80C3-C6BD-D642-BA5431D10B60}" dt="2025-04-19T17:09:10.587" v="64"/>
          <ac:picMkLst>
            <pc:docMk/>
            <pc:sldMk cId="53263196" sldId="265"/>
            <ac:picMk id="13" creationId="{37E9BDA2-DC97-10FA-C2BA-A4274E12307D}"/>
          </ac:picMkLst>
        </pc:picChg>
        <pc:picChg chg="add del">
          <ac:chgData name="Wankhede, Revati Sharad" userId="S::rew158@pitt.edu::d1d1d99c-52bd-4e18-b627-649863e8685d" providerId="AD" clId="Web-{588D6C58-80C3-C6BD-D642-BA5431D10B60}" dt="2025-04-19T17:09:10.587" v="66"/>
          <ac:picMkLst>
            <pc:docMk/>
            <pc:sldMk cId="53263196" sldId="265"/>
            <ac:picMk id="27" creationId="{1F97E6B0-2826-E0F9-B422-A020DDB563F2}"/>
          </ac:picMkLst>
        </pc:picChg>
        <pc:picChg chg="add del">
          <ac:chgData name="Wankhede, Revati Sharad" userId="S::rew158@pitt.edu::d1d1d99c-52bd-4e18-b627-649863e8685d" providerId="AD" clId="Web-{588D6C58-80C3-C6BD-D642-BA5431D10B60}" dt="2025-04-19T17:09:10.587" v="63"/>
          <ac:picMkLst>
            <pc:docMk/>
            <pc:sldMk cId="53263196" sldId="265"/>
            <ac:picMk id="54" creationId="{CDDAF942-B61A-AB4A-200A-94B1F812013C}"/>
          </ac:picMkLst>
        </pc:picChg>
        <pc:picChg chg="del mod">
          <ac:chgData name="Wankhede, Revati Sharad" userId="S::rew158@pitt.edu::d1d1d99c-52bd-4e18-b627-649863e8685d" providerId="AD" clId="Web-{588D6C58-80C3-C6BD-D642-BA5431D10B60}" dt="2025-04-19T17:14:58.066" v="154"/>
          <ac:picMkLst>
            <pc:docMk/>
            <pc:sldMk cId="53263196" sldId="265"/>
            <ac:picMk id="55" creationId="{3E88B76B-6B87-4B8C-3FAD-E2F977D54AA4}"/>
          </ac:picMkLst>
        </pc:picChg>
        <pc:picChg chg="add del mod modCrop">
          <ac:chgData name="Wankhede, Revati Sharad" userId="S::rew158@pitt.edu::d1d1d99c-52bd-4e18-b627-649863e8685d" providerId="AD" clId="Web-{588D6C58-80C3-C6BD-D642-BA5431D10B60}" dt="2025-04-19T17:28:21.423" v="347"/>
          <ac:picMkLst>
            <pc:docMk/>
            <pc:sldMk cId="53263196" sldId="265"/>
            <ac:picMk id="57" creationId="{CE023B1D-B028-3D9C-8CE7-96C02BCC04B3}"/>
          </ac:picMkLst>
        </pc:picChg>
        <pc:picChg chg="add del mod">
          <ac:chgData name="Wankhede, Revati Sharad" userId="S::rew158@pitt.edu::d1d1d99c-52bd-4e18-b627-649863e8685d" providerId="AD" clId="Web-{588D6C58-80C3-C6BD-D642-BA5431D10B60}" dt="2025-04-19T17:14:32.159" v="143"/>
          <ac:picMkLst>
            <pc:docMk/>
            <pc:sldMk cId="53263196" sldId="265"/>
            <ac:picMk id="58" creationId="{9A8CB343-30C2-BE42-7AF3-B01241640588}"/>
          </ac:picMkLst>
        </pc:picChg>
        <pc:picChg chg="del">
          <ac:chgData name="Wankhede, Revati Sharad" userId="S::rew158@pitt.edu::d1d1d99c-52bd-4e18-b627-649863e8685d" providerId="AD" clId="Web-{588D6C58-80C3-C6BD-D642-BA5431D10B60}" dt="2025-04-19T17:08:27.601" v="1"/>
          <ac:picMkLst>
            <pc:docMk/>
            <pc:sldMk cId="53263196" sldId="265"/>
            <ac:picMk id="60" creationId="{A0BEEFA0-5D82-06AB-1A17-53CF9996AF6A}"/>
          </ac:picMkLst>
        </pc:picChg>
      </pc:sldChg>
      <pc:sldChg chg="delSp del">
        <pc:chgData name="Wankhede, Revati Sharad" userId="S::rew158@pitt.edu::d1d1d99c-52bd-4e18-b627-649863e8685d" providerId="AD" clId="Web-{588D6C58-80C3-C6BD-D642-BA5431D10B60}" dt="2025-04-19T17:31:22.853" v="408"/>
        <pc:sldMkLst>
          <pc:docMk/>
          <pc:sldMk cId="2011075472" sldId="2147471205"/>
        </pc:sldMkLst>
        <pc:picChg chg="del">
          <ac:chgData name="Wankhede, Revati Sharad" userId="S::rew158@pitt.edu::d1d1d99c-52bd-4e18-b627-649863e8685d" providerId="AD" clId="Web-{588D6C58-80C3-C6BD-D642-BA5431D10B60}" dt="2025-04-19T17:10:31.714" v="83"/>
          <ac:picMkLst>
            <pc:docMk/>
            <pc:sldMk cId="2011075472" sldId="2147471205"/>
            <ac:picMk id="10" creationId="{29054DBD-48EC-9FD0-9DAF-93BFE6ACFC0A}"/>
          </ac:picMkLst>
        </pc:picChg>
      </pc:sldChg>
      <pc:sldChg chg="delSp del">
        <pc:chgData name="Wankhede, Revati Sharad" userId="S::rew158@pitt.edu::d1d1d99c-52bd-4e18-b627-649863e8685d" providerId="AD" clId="Web-{588D6C58-80C3-C6BD-D642-BA5431D10B60}" dt="2025-04-19T17:31:22.853" v="407"/>
        <pc:sldMkLst>
          <pc:docMk/>
          <pc:sldMk cId="2312241143" sldId="2147471206"/>
        </pc:sldMkLst>
        <pc:picChg chg="del">
          <ac:chgData name="Wankhede, Revati Sharad" userId="S::rew158@pitt.edu::d1d1d99c-52bd-4e18-b627-649863e8685d" providerId="AD" clId="Web-{588D6C58-80C3-C6BD-D642-BA5431D10B60}" dt="2025-04-19T17:10:33.621" v="84"/>
          <ac:picMkLst>
            <pc:docMk/>
            <pc:sldMk cId="2312241143" sldId="2147471206"/>
            <ac:picMk id="10" creationId="{BAC150F0-30E7-5D70-0FC7-20DFE0F70B00}"/>
          </ac:picMkLst>
        </pc:picChg>
      </pc:sldChg>
      <pc:sldChg chg="del">
        <pc:chgData name="Wankhede, Revati Sharad" userId="S::rew158@pitt.edu::d1d1d99c-52bd-4e18-b627-649863e8685d" providerId="AD" clId="Web-{588D6C58-80C3-C6BD-D642-BA5431D10B60}" dt="2025-04-19T17:10:12.479" v="77"/>
        <pc:sldMkLst>
          <pc:docMk/>
          <pc:sldMk cId="2982251091" sldId="2147471216"/>
        </pc:sldMkLst>
      </pc:sldChg>
      <pc:sldChg chg="del">
        <pc:chgData name="Wankhede, Revati Sharad" userId="S::rew158@pitt.edu::d1d1d99c-52bd-4e18-b627-649863e8685d" providerId="AD" clId="Web-{588D6C58-80C3-C6BD-D642-BA5431D10B60}" dt="2025-04-19T17:10:15.011" v="78"/>
        <pc:sldMkLst>
          <pc:docMk/>
          <pc:sldMk cId="1607553047" sldId="2147471217"/>
        </pc:sldMkLst>
      </pc:sldChg>
      <pc:sldChg chg="del">
        <pc:chgData name="Wankhede, Revati Sharad" userId="S::rew158@pitt.edu::d1d1d99c-52bd-4e18-b627-649863e8685d" providerId="AD" clId="Web-{588D6C58-80C3-C6BD-D642-BA5431D10B60}" dt="2025-04-19T17:10:44.746" v="90"/>
        <pc:sldMkLst>
          <pc:docMk/>
          <pc:sldMk cId="471024079" sldId="2147471238"/>
        </pc:sldMkLst>
      </pc:sldChg>
      <pc:sldChg chg="del">
        <pc:chgData name="Wankhede, Revati Sharad" userId="S::rew158@pitt.edu::d1d1d99c-52bd-4e18-b627-649863e8685d" providerId="AD" clId="Web-{588D6C58-80C3-C6BD-D642-BA5431D10B60}" dt="2025-04-19T17:10:41.277" v="88"/>
        <pc:sldMkLst>
          <pc:docMk/>
          <pc:sldMk cId="1087854477" sldId="2147471243"/>
        </pc:sldMkLst>
      </pc:sldChg>
      <pc:sldChg chg="del">
        <pc:chgData name="Wankhede, Revati Sharad" userId="S::rew158@pitt.edu::d1d1d99c-52bd-4e18-b627-649863e8685d" providerId="AD" clId="Web-{588D6C58-80C3-C6BD-D642-BA5431D10B60}" dt="2025-04-19T17:10:36.386" v="85"/>
        <pc:sldMkLst>
          <pc:docMk/>
          <pc:sldMk cId="1882865201" sldId="2147473291"/>
        </pc:sldMkLst>
      </pc:sldChg>
      <pc:sldChg chg="del">
        <pc:chgData name="Wankhede, Revati Sharad" userId="S::rew158@pitt.edu::d1d1d99c-52bd-4e18-b627-649863e8685d" providerId="AD" clId="Web-{588D6C58-80C3-C6BD-D642-BA5431D10B60}" dt="2025-04-19T17:10:46.871" v="91"/>
        <pc:sldMkLst>
          <pc:docMk/>
          <pc:sldMk cId="1452525494" sldId="2147473293"/>
        </pc:sldMkLst>
      </pc:sldChg>
      <pc:sldChg chg="del">
        <pc:chgData name="Wankhede, Revati Sharad" userId="S::rew158@pitt.edu::d1d1d99c-52bd-4e18-b627-649863e8685d" providerId="AD" clId="Web-{588D6C58-80C3-C6BD-D642-BA5431D10B60}" dt="2025-04-19T17:10:37.918" v="86"/>
        <pc:sldMkLst>
          <pc:docMk/>
          <pc:sldMk cId="3787885067" sldId="2147473294"/>
        </pc:sldMkLst>
      </pc:sldChg>
      <pc:sldChg chg="del">
        <pc:chgData name="Wankhede, Revati Sharad" userId="S::rew158@pitt.edu::d1d1d99c-52bd-4e18-b627-649863e8685d" providerId="AD" clId="Web-{588D6C58-80C3-C6BD-D642-BA5431D10B60}" dt="2025-04-19T17:10:39.449" v="87"/>
        <pc:sldMkLst>
          <pc:docMk/>
          <pc:sldMk cId="3464303164" sldId="2147473295"/>
        </pc:sldMkLst>
      </pc:sldChg>
      <pc:sldChg chg="del">
        <pc:chgData name="Wankhede, Revati Sharad" userId="S::rew158@pitt.edu::d1d1d99c-52bd-4e18-b627-649863e8685d" providerId="AD" clId="Web-{588D6C58-80C3-C6BD-D642-BA5431D10B60}" dt="2025-04-19T17:10:25.620" v="81"/>
        <pc:sldMkLst>
          <pc:docMk/>
          <pc:sldMk cId="1804782546" sldId="2147473296"/>
        </pc:sldMkLst>
      </pc:sldChg>
      <pc:sldChg chg="del">
        <pc:chgData name="Wankhede, Revati Sharad" userId="S::rew158@pitt.edu::d1d1d99c-52bd-4e18-b627-649863e8685d" providerId="AD" clId="Web-{588D6C58-80C3-C6BD-D642-BA5431D10B60}" dt="2025-04-19T17:10:17.073" v="79"/>
        <pc:sldMkLst>
          <pc:docMk/>
          <pc:sldMk cId="2194876764" sldId="2147473302"/>
        </pc:sldMkLst>
      </pc:sldChg>
      <pc:sldChg chg="del">
        <pc:chgData name="Wankhede, Revati Sharad" userId="S::rew158@pitt.edu::d1d1d99c-52bd-4e18-b627-649863e8685d" providerId="AD" clId="Web-{588D6C58-80C3-C6BD-D642-BA5431D10B60}" dt="2025-04-19T17:31:22.853" v="409"/>
        <pc:sldMkLst>
          <pc:docMk/>
          <pc:sldMk cId="3683455284" sldId="2147473305"/>
        </pc:sldMkLst>
      </pc:sldChg>
      <pc:sldChg chg="del">
        <pc:chgData name="Wankhede, Revati Sharad" userId="S::rew158@pitt.edu::d1d1d99c-52bd-4e18-b627-649863e8685d" providerId="AD" clId="Web-{588D6C58-80C3-C6BD-D642-BA5431D10B60}" dt="2025-04-19T17:10:19.808" v="80"/>
        <pc:sldMkLst>
          <pc:docMk/>
          <pc:sldMk cId="925882504" sldId="2147473311"/>
        </pc:sldMkLst>
      </pc:sldChg>
      <pc:sldChg chg="delSp modSp del">
        <pc:chgData name="Wankhede, Revati Sharad" userId="S::rew158@pitt.edu::d1d1d99c-52bd-4e18-b627-649863e8685d" providerId="AD" clId="Web-{588D6C58-80C3-C6BD-D642-BA5431D10B60}" dt="2025-04-19T17:31:08.493" v="406"/>
        <pc:sldMkLst>
          <pc:docMk/>
          <pc:sldMk cId="3559590629" sldId="2147473313"/>
        </pc:sldMkLst>
        <pc:spChg chg="mod">
          <ac:chgData name="Wankhede, Revati Sharad" userId="S::rew158@pitt.edu::d1d1d99c-52bd-4e18-b627-649863e8685d" providerId="AD" clId="Web-{588D6C58-80C3-C6BD-D642-BA5431D10B60}" dt="2025-04-19T17:09:55.994" v="75" actId="20577"/>
          <ac:spMkLst>
            <pc:docMk/>
            <pc:sldMk cId="3559590629" sldId="2147473313"/>
            <ac:spMk id="12" creationId="{6D542EEC-8071-342B-8ED3-285F2F0551EF}"/>
          </ac:spMkLst>
        </pc:spChg>
        <pc:picChg chg="del">
          <ac:chgData name="Wankhede, Revati Sharad" userId="S::rew158@pitt.edu::d1d1d99c-52bd-4e18-b627-649863e8685d" providerId="AD" clId="Web-{588D6C58-80C3-C6BD-D642-BA5431D10B60}" dt="2025-04-19T17:10:07.745" v="76"/>
          <ac:picMkLst>
            <pc:docMk/>
            <pc:sldMk cId="3559590629" sldId="2147473313"/>
            <ac:picMk id="10" creationId="{29054DBD-48EC-9FD0-9DAF-93BFE6ACFC0A}"/>
          </ac:picMkLst>
        </pc:picChg>
      </pc:sldChg>
      <pc:sldChg chg="modSp new del ord">
        <pc:chgData name="Wankhede, Revati Sharad" userId="S::rew158@pitt.edu::d1d1d99c-52bd-4e18-b627-649863e8685d" providerId="AD" clId="Web-{588D6C58-80C3-C6BD-D642-BA5431D10B60}" dt="2025-04-19T17:30:53.524" v="404"/>
        <pc:sldMkLst>
          <pc:docMk/>
          <pc:sldMk cId="2255118096" sldId="2147473314"/>
        </pc:sldMkLst>
        <pc:spChg chg="mod">
          <ac:chgData name="Wankhede, Revati Sharad" userId="S::rew158@pitt.edu::d1d1d99c-52bd-4e18-b627-649863e8685d" providerId="AD" clId="Web-{588D6C58-80C3-C6BD-D642-BA5431D10B60}" dt="2025-04-19T17:18:46.136" v="202" actId="20577"/>
          <ac:spMkLst>
            <pc:docMk/>
            <pc:sldMk cId="2255118096" sldId="2147473314"/>
            <ac:spMk id="2" creationId="{E93E3EBE-1688-2671-9181-AD1A74E416BD}"/>
          </ac:spMkLst>
        </pc:spChg>
        <pc:spChg chg="mod">
          <ac:chgData name="Wankhede, Revati Sharad" userId="S::rew158@pitt.edu::d1d1d99c-52bd-4e18-b627-649863e8685d" providerId="AD" clId="Web-{588D6C58-80C3-C6BD-D642-BA5431D10B60}" dt="2025-04-19T17:19:22.403" v="207" actId="20577"/>
          <ac:spMkLst>
            <pc:docMk/>
            <pc:sldMk cId="2255118096" sldId="2147473314"/>
            <ac:spMk id="3" creationId="{2F323FB8-DCCC-FED7-DF7F-C96864BA8812}"/>
          </ac:spMkLst>
        </pc:spChg>
      </pc:sldChg>
      <pc:sldChg chg="addSp delSp modSp add mod replId setBg">
        <pc:chgData name="Wankhede, Revati Sharad" userId="S::rew158@pitt.edu::d1d1d99c-52bd-4e18-b627-649863e8685d" providerId="AD" clId="Web-{588D6C58-80C3-C6BD-D642-BA5431D10B60}" dt="2025-04-19T17:31:03.243" v="405" actId="20577"/>
        <pc:sldMkLst>
          <pc:docMk/>
          <pc:sldMk cId="956446626" sldId="2147473315"/>
        </pc:sldMkLst>
        <pc:spChg chg="mod">
          <ac:chgData name="Wankhede, Revati Sharad" userId="S::rew158@pitt.edu::d1d1d99c-52bd-4e18-b627-649863e8685d" providerId="AD" clId="Web-{588D6C58-80C3-C6BD-D642-BA5431D10B60}" dt="2025-04-19T17:24:36.135" v="300" actId="20577"/>
          <ac:spMkLst>
            <pc:docMk/>
            <pc:sldMk cId="956446626" sldId="2147473315"/>
            <ac:spMk id="2" creationId="{2428F3E1-2A29-E6FF-E7FC-15C4AB00F5B5}"/>
          </ac:spMkLst>
        </pc:spChg>
        <pc:spChg chg="mod">
          <ac:chgData name="Wankhede, Revati Sharad" userId="S::rew158@pitt.edu::d1d1d99c-52bd-4e18-b627-649863e8685d" providerId="AD" clId="Web-{588D6C58-80C3-C6BD-D642-BA5431D10B60}" dt="2025-04-19T17:31:03.243" v="405" actId="20577"/>
          <ac:spMkLst>
            <pc:docMk/>
            <pc:sldMk cId="956446626" sldId="2147473315"/>
            <ac:spMk id="3" creationId="{4447BD38-0B26-955A-375D-AA8C76593D09}"/>
          </ac:spMkLst>
        </pc:spChg>
        <pc:spChg chg="add del">
          <ac:chgData name="Wankhede, Revati Sharad" userId="S::rew158@pitt.edu::d1d1d99c-52bd-4e18-b627-649863e8685d" providerId="AD" clId="Web-{588D6C58-80C3-C6BD-D642-BA5431D10B60}" dt="2025-04-19T17:20:22.359" v="210"/>
          <ac:spMkLst>
            <pc:docMk/>
            <pc:sldMk cId="956446626" sldId="2147473315"/>
            <ac:spMk id="4" creationId="{75090642-8CFF-56C6-5489-54617E7D2E7D}"/>
          </ac:spMkLst>
        </pc:spChg>
        <pc:spChg chg="add del mod">
          <ac:chgData name="Wankhede, Revati Sharad" userId="S::rew158@pitt.edu::d1d1d99c-52bd-4e18-b627-649863e8685d" providerId="AD" clId="Web-{588D6C58-80C3-C6BD-D642-BA5431D10B60}" dt="2025-04-19T17:21:42.939" v="264"/>
          <ac:spMkLst>
            <pc:docMk/>
            <pc:sldMk cId="956446626" sldId="2147473315"/>
            <ac:spMk id="5" creationId="{11BBDFC4-AFBE-6594-40BA-BD35E9E53158}"/>
          </ac:spMkLst>
        </pc:spChg>
        <pc:spChg chg="add del">
          <ac:chgData name="Wankhede, Revati Sharad" userId="S::rew158@pitt.edu::d1d1d99c-52bd-4e18-b627-649863e8685d" providerId="AD" clId="Web-{588D6C58-80C3-C6BD-D642-BA5431D10B60}" dt="2025-04-19T17:22:49.661" v="277"/>
          <ac:spMkLst>
            <pc:docMk/>
            <pc:sldMk cId="956446626" sldId="2147473315"/>
            <ac:spMk id="8" creationId="{907E470A-25F4-47D0-8FEC-EE9FD606BB34}"/>
          </ac:spMkLst>
        </pc:spChg>
        <pc:spChg chg="add del">
          <ac:chgData name="Wankhede, Revati Sharad" userId="S::rew158@pitt.edu::d1d1d99c-52bd-4e18-b627-649863e8685d" providerId="AD" clId="Web-{588D6C58-80C3-C6BD-D642-BA5431D10B60}" dt="2025-04-19T17:23:02.348" v="279"/>
          <ac:spMkLst>
            <pc:docMk/>
            <pc:sldMk cId="956446626" sldId="2147473315"/>
            <ac:spMk id="9" creationId="{464EC53C-35C4-4E84-AFE2-A7D081852617}"/>
          </ac:spMkLst>
        </pc:spChg>
        <pc:spChg chg="add del">
          <ac:chgData name="Wankhede, Revati Sharad" userId="S::rew158@pitt.edu::d1d1d99c-52bd-4e18-b627-649863e8685d" providerId="AD" clId="Web-{588D6C58-80C3-C6BD-D642-BA5431D10B60}" dt="2025-04-19T17:23:02.348" v="279"/>
          <ac:spMkLst>
            <pc:docMk/>
            <pc:sldMk cId="956446626" sldId="2147473315"/>
            <ac:spMk id="11" creationId="{9A3F5928-D955-456A-97B5-AA390B8CE9D5}"/>
          </ac:spMkLst>
        </pc:spChg>
        <pc:spChg chg="mod">
          <ac:chgData name="Wankhede, Revati Sharad" userId="S::rew158@pitt.edu::d1d1d99c-52bd-4e18-b627-649863e8685d" providerId="AD" clId="Web-{588D6C58-80C3-C6BD-D642-BA5431D10B60}" dt="2025-04-19T17:23:30.037" v="284"/>
          <ac:spMkLst>
            <pc:docMk/>
            <pc:sldMk cId="956446626" sldId="2147473315"/>
            <ac:spMk id="12" creationId="{F44E9794-9C4B-427F-BB50-89D893347DE8}"/>
          </ac:spMkLst>
        </pc:spChg>
        <pc:spChg chg="add del">
          <ac:chgData name="Wankhede, Revati Sharad" userId="S::rew158@pitt.edu::d1d1d99c-52bd-4e18-b627-649863e8685d" providerId="AD" clId="Web-{588D6C58-80C3-C6BD-D642-BA5431D10B60}" dt="2025-04-19T17:23:02.348" v="279"/>
          <ac:spMkLst>
            <pc:docMk/>
            <pc:sldMk cId="956446626" sldId="2147473315"/>
            <ac:spMk id="15" creationId="{C5CB530E-515E-412C-9DF1-5F8FFBD6F383}"/>
          </ac:spMkLst>
        </pc:spChg>
        <pc:spChg chg="mod">
          <ac:chgData name="Wankhede, Revati Sharad" userId="S::rew158@pitt.edu::d1d1d99c-52bd-4e18-b627-649863e8685d" providerId="AD" clId="Web-{588D6C58-80C3-C6BD-D642-BA5431D10B60}" dt="2025-04-19T17:23:24.396" v="282"/>
          <ac:spMkLst>
            <pc:docMk/>
            <pc:sldMk cId="956446626" sldId="2147473315"/>
            <ac:spMk id="16" creationId="{209C186B-2883-498E-A176-6B60F8B51BF6}"/>
          </ac:spMkLst>
        </pc:spChg>
        <pc:spChg chg="add del">
          <ac:chgData name="Wankhede, Revati Sharad" userId="S::rew158@pitt.edu::d1d1d99c-52bd-4e18-b627-649863e8685d" providerId="AD" clId="Web-{588D6C58-80C3-C6BD-D642-BA5431D10B60}" dt="2025-04-19T17:23:02.348" v="279"/>
          <ac:spMkLst>
            <pc:docMk/>
            <pc:sldMk cId="956446626" sldId="2147473315"/>
            <ac:spMk id="17" creationId="{712D4376-A578-4FF1-94FC-245E7A6A489F}"/>
          </ac:spMkLst>
        </pc:spChg>
        <pc:spChg chg="add del">
          <ac:chgData name="Wankhede, Revati Sharad" userId="S::rew158@pitt.edu::d1d1d99c-52bd-4e18-b627-649863e8685d" providerId="AD" clId="Web-{588D6C58-80C3-C6BD-D642-BA5431D10B60}" dt="2025-04-19T17:23:02.348" v="279"/>
          <ac:spMkLst>
            <pc:docMk/>
            <pc:sldMk cId="956446626" sldId="2147473315"/>
            <ac:spMk id="19" creationId="{AEA7509D-F04F-40CB-A0B3-EEF16499CC9F}"/>
          </ac:spMkLst>
        </pc:spChg>
        <pc:spChg chg="add">
          <ac:chgData name="Wankhede, Revati Sharad" userId="S::rew158@pitt.edu::d1d1d99c-52bd-4e18-b627-649863e8685d" providerId="AD" clId="Web-{588D6C58-80C3-C6BD-D642-BA5431D10B60}" dt="2025-04-19T17:23:02.458" v="280"/>
          <ac:spMkLst>
            <pc:docMk/>
            <pc:sldMk cId="956446626" sldId="2147473315"/>
            <ac:spMk id="29" creationId="{907E470A-25F4-47D0-8FEC-EE9FD606BB34}"/>
          </ac:spMkLst>
        </pc:spChg>
        <pc:spChg chg="mod">
          <ac:chgData name="Wankhede, Revati Sharad" userId="S::rew158@pitt.edu::d1d1d99c-52bd-4e18-b627-649863e8685d" providerId="AD" clId="Web-{588D6C58-80C3-C6BD-D642-BA5431D10B60}" dt="2025-04-19T17:23:30.021" v="283"/>
          <ac:spMkLst>
            <pc:docMk/>
            <pc:sldMk cId="956446626" sldId="2147473315"/>
            <ac:spMk id="31" creationId="{F8610896-EA5E-4BE8-8398-C1AFC0490A28}"/>
          </ac:spMkLst>
        </pc:spChg>
        <pc:spChg chg="mod">
          <ac:chgData name="Wankhede, Revati Sharad" userId="S::rew158@pitt.edu::d1d1d99c-52bd-4e18-b627-649863e8685d" providerId="AD" clId="Web-{588D6C58-80C3-C6BD-D642-BA5431D10B60}" dt="2025-04-19T17:23:24.380" v="281"/>
          <ac:spMkLst>
            <pc:docMk/>
            <pc:sldMk cId="956446626" sldId="2147473315"/>
            <ac:spMk id="33" creationId="{ECA6F781-4382-4525-9DA8-9D66605F877D}"/>
          </ac:spMkLst>
        </pc:spChg>
        <pc:grpChg chg="add del">
          <ac:chgData name="Wankhede, Revati Sharad" userId="S::rew158@pitt.edu::d1d1d99c-52bd-4e18-b627-649863e8685d" providerId="AD" clId="Web-{588D6C58-80C3-C6BD-D642-BA5431D10B60}" dt="2025-04-19T17:22:49.661" v="277"/>
          <ac:grpSpMkLst>
            <pc:docMk/>
            <pc:sldMk cId="956446626" sldId="2147473315"/>
            <ac:grpSpMk id="10" creationId="{66220E63-99E1-482A-A0A6-B47EB4BF8797}"/>
          </ac:grpSpMkLst>
        </pc:grpChg>
        <pc:grpChg chg="add del">
          <ac:chgData name="Wankhede, Revati Sharad" userId="S::rew158@pitt.edu::d1d1d99c-52bd-4e18-b627-649863e8685d" providerId="AD" clId="Web-{588D6C58-80C3-C6BD-D642-BA5431D10B60}" dt="2025-04-19T17:22:49.661" v="277"/>
          <ac:grpSpMkLst>
            <pc:docMk/>
            <pc:sldMk cId="956446626" sldId="2147473315"/>
            <ac:grpSpMk id="14" creationId="{8618EE54-271A-4FE8-B6B3-D0FCF55A7A01}"/>
          </ac:grpSpMkLst>
        </pc:grpChg>
        <pc:grpChg chg="add del">
          <ac:chgData name="Wankhede, Revati Sharad" userId="S::rew158@pitt.edu::d1d1d99c-52bd-4e18-b627-649863e8685d" providerId="AD" clId="Web-{588D6C58-80C3-C6BD-D642-BA5431D10B60}" dt="2025-04-19T17:22:49.661" v="277"/>
          <ac:grpSpMkLst>
            <pc:docMk/>
            <pc:sldMk cId="956446626" sldId="2147473315"/>
            <ac:grpSpMk id="18" creationId="{43F5E015-E085-4624-B431-B42414448684}"/>
          </ac:grpSpMkLst>
        </pc:grpChg>
        <pc:grpChg chg="add">
          <ac:chgData name="Wankhede, Revati Sharad" userId="S::rew158@pitt.edu::d1d1d99c-52bd-4e18-b627-649863e8685d" providerId="AD" clId="Web-{588D6C58-80C3-C6BD-D642-BA5431D10B60}" dt="2025-04-19T17:23:02.458" v="280"/>
          <ac:grpSpMkLst>
            <pc:docMk/>
            <pc:sldMk cId="956446626" sldId="2147473315"/>
            <ac:grpSpMk id="30" creationId="{66220E63-99E1-482A-A0A6-B47EB4BF8797}"/>
          </ac:grpSpMkLst>
        </pc:grpChg>
        <pc:grpChg chg="add">
          <ac:chgData name="Wankhede, Revati Sharad" userId="S::rew158@pitt.edu::d1d1d99c-52bd-4e18-b627-649863e8685d" providerId="AD" clId="Web-{588D6C58-80C3-C6BD-D642-BA5431D10B60}" dt="2025-04-19T17:23:02.458" v="280"/>
          <ac:grpSpMkLst>
            <pc:docMk/>
            <pc:sldMk cId="956446626" sldId="2147473315"/>
            <ac:grpSpMk id="32" creationId="{8618EE54-271A-4FE8-B6B3-D0FCF55A7A01}"/>
          </ac:grpSpMkLst>
        </pc:grpChg>
        <pc:grpChg chg="add">
          <ac:chgData name="Wankhede, Revati Sharad" userId="S::rew158@pitt.edu::d1d1d99c-52bd-4e18-b627-649863e8685d" providerId="AD" clId="Web-{588D6C58-80C3-C6BD-D642-BA5431D10B60}" dt="2025-04-19T17:23:02.458" v="280"/>
          <ac:grpSpMkLst>
            <pc:docMk/>
            <pc:sldMk cId="956446626" sldId="2147473315"/>
            <ac:grpSpMk id="34" creationId="{43F5E015-E085-4624-B431-B42414448684}"/>
          </ac:grpSpMkLst>
        </pc:grpChg>
        <pc:picChg chg="add del">
          <ac:chgData name="Wankhede, Revati Sharad" userId="S::rew158@pitt.edu::d1d1d99c-52bd-4e18-b627-649863e8685d" providerId="AD" clId="Web-{588D6C58-80C3-C6BD-D642-BA5431D10B60}" dt="2025-04-19T17:23:02.348" v="279"/>
          <ac:picMkLst>
            <pc:docMk/>
            <pc:sldMk cId="956446626" sldId="2147473315"/>
            <ac:picMk id="27" creationId="{82E9CEEA-6CA6-CF7B-BE9B-D18FD129D886}"/>
          </ac:picMkLst>
        </pc:picChg>
        <pc:cxnChg chg="add del">
          <ac:chgData name="Wankhede, Revati Sharad" userId="S::rew158@pitt.edu::d1d1d99c-52bd-4e18-b627-649863e8685d" providerId="AD" clId="Web-{588D6C58-80C3-C6BD-D642-BA5431D10B60}" dt="2025-04-19T17:23:02.348" v="279"/>
          <ac:cxnSpMkLst>
            <pc:docMk/>
            <pc:sldMk cId="956446626" sldId="2147473315"/>
            <ac:cxnSpMk id="13" creationId="{56020367-4FD5-4596-8E10-C5F095CD8DBF}"/>
          </ac:cxnSpMkLst>
        </pc:cxnChg>
      </pc:sldChg>
      <pc:sldChg chg="del">
        <pc:chgData name="Wankhede, Revati Sharad" userId="S::rew158@pitt.edu::d1d1d99c-52bd-4e18-b627-649863e8685d" providerId="AD" clId="Web-{588D6C58-80C3-C6BD-D642-BA5431D10B60}" dt="2025-04-19T17:10:43.074" v="89"/>
        <pc:sldMkLst>
          <pc:docMk/>
          <pc:sldMk cId="3728662062" sldId="2147473315"/>
        </pc:sldMkLst>
      </pc:sldChg>
      <pc:sldChg chg="addSp delSp modSp add replId">
        <pc:chgData name="Wankhede, Revati Sharad" userId="S::rew158@pitt.edu::d1d1d99c-52bd-4e18-b627-649863e8685d" providerId="AD" clId="Web-{588D6C58-80C3-C6BD-D642-BA5431D10B60}" dt="2025-04-19T17:28:38.767" v="365"/>
        <pc:sldMkLst>
          <pc:docMk/>
          <pc:sldMk cId="64473403" sldId="2147473316"/>
        </pc:sldMkLst>
        <pc:spChg chg="mod">
          <ac:chgData name="Wankhede, Revati Sharad" userId="S::rew158@pitt.edu::d1d1d99c-52bd-4e18-b627-649863e8685d" providerId="AD" clId="Web-{588D6C58-80C3-C6BD-D642-BA5431D10B60}" dt="2025-04-19T17:27:55.891" v="336" actId="14100"/>
          <ac:spMkLst>
            <pc:docMk/>
            <pc:sldMk cId="64473403" sldId="2147473316"/>
            <ac:spMk id="2" creationId="{0825ADEB-0D1F-5214-251E-0D408539A879}"/>
          </ac:spMkLst>
        </pc:spChg>
        <pc:spChg chg="del mod">
          <ac:chgData name="Wankhede, Revati Sharad" userId="S::rew158@pitt.edu::d1d1d99c-52bd-4e18-b627-649863e8685d" providerId="AD" clId="Web-{588D6C58-80C3-C6BD-D642-BA5431D10B60}" dt="2025-04-19T17:27:31.703" v="330"/>
          <ac:spMkLst>
            <pc:docMk/>
            <pc:sldMk cId="64473403" sldId="2147473316"/>
            <ac:spMk id="3" creationId="{989080ED-27A8-7C43-03D3-49A0520AA0D6}"/>
          </ac:spMkLst>
        </pc:spChg>
        <pc:spChg chg="add del mod">
          <ac:chgData name="Wankhede, Revati Sharad" userId="S::rew158@pitt.edu::d1d1d99c-52bd-4e18-b627-649863e8685d" providerId="AD" clId="Web-{588D6C58-80C3-C6BD-D642-BA5431D10B60}" dt="2025-04-19T17:28:38.767" v="365"/>
          <ac:spMkLst>
            <pc:docMk/>
            <pc:sldMk cId="64473403" sldId="2147473316"/>
            <ac:spMk id="7" creationId="{4E312D83-D59A-6023-36E2-E6BD8A161C41}"/>
          </ac:spMkLst>
        </pc:spChg>
        <pc:spChg chg="add mod">
          <ac:chgData name="Wankhede, Revati Sharad" userId="S::rew158@pitt.edu::d1d1d99c-52bd-4e18-b627-649863e8685d" providerId="AD" clId="Web-{588D6C58-80C3-C6BD-D642-BA5431D10B60}" dt="2025-04-19T17:28:33.267" v="359" actId="1076"/>
          <ac:spMkLst>
            <pc:docMk/>
            <pc:sldMk cId="64473403" sldId="2147473316"/>
            <ac:spMk id="9" creationId="{32D61BB0-434D-F8FD-F7DE-5169ABFF74E0}"/>
          </ac:spMkLst>
        </pc:spChg>
        <pc:spChg chg="add mod">
          <ac:chgData name="Wankhede, Revati Sharad" userId="S::rew158@pitt.edu::d1d1d99c-52bd-4e18-b627-649863e8685d" providerId="AD" clId="Web-{588D6C58-80C3-C6BD-D642-BA5431D10B60}" dt="2025-04-19T17:28:33.283" v="360" actId="1076"/>
          <ac:spMkLst>
            <pc:docMk/>
            <pc:sldMk cId="64473403" sldId="2147473316"/>
            <ac:spMk id="11" creationId="{D9BB734F-F082-B850-E3DD-71617128134D}"/>
          </ac:spMkLst>
        </pc:spChg>
        <pc:spChg chg="add mod">
          <ac:chgData name="Wankhede, Revati Sharad" userId="S::rew158@pitt.edu::d1d1d99c-52bd-4e18-b627-649863e8685d" providerId="AD" clId="Web-{588D6C58-80C3-C6BD-D642-BA5431D10B60}" dt="2025-04-19T17:28:33.283" v="361" actId="1076"/>
          <ac:spMkLst>
            <pc:docMk/>
            <pc:sldMk cId="64473403" sldId="2147473316"/>
            <ac:spMk id="14" creationId="{E9F800A5-7C7F-3795-7803-CED51B498E37}"/>
          </ac:spMkLst>
        </pc:spChg>
        <pc:grpChg chg="add del">
          <ac:chgData name="Wankhede, Revati Sharad" userId="S::rew158@pitt.edu::d1d1d99c-52bd-4e18-b627-649863e8685d" providerId="AD" clId="Web-{588D6C58-80C3-C6BD-D642-BA5431D10B60}" dt="2025-04-19T17:27:17.218" v="328"/>
          <ac:grpSpMkLst>
            <pc:docMk/>
            <pc:sldMk cId="64473403" sldId="2147473316"/>
            <ac:grpSpMk id="32" creationId="{2BD66BC1-43DB-849E-673F-468050662555}"/>
          </ac:grpSpMkLst>
        </pc:grpChg>
        <pc:picChg chg="add mod">
          <ac:chgData name="Wankhede, Revati Sharad" userId="S::rew158@pitt.edu::d1d1d99c-52bd-4e18-b627-649863e8685d" providerId="AD" clId="Web-{588D6C58-80C3-C6BD-D642-BA5431D10B60}" dt="2025-04-19T17:28:33.314" v="362" actId="1076"/>
          <ac:picMkLst>
            <pc:docMk/>
            <pc:sldMk cId="64473403" sldId="2147473316"/>
            <ac:picMk id="17" creationId="{E1BC41EF-0229-0C7B-3359-BF1403AB6809}"/>
          </ac:picMkLst>
        </pc:picChg>
        <pc:picChg chg="add mod">
          <ac:chgData name="Wankhede, Revati Sharad" userId="S::rew158@pitt.edu::d1d1d99c-52bd-4e18-b627-649863e8685d" providerId="AD" clId="Web-{588D6C58-80C3-C6BD-D642-BA5431D10B60}" dt="2025-04-19T17:28:33.330" v="363" actId="1076"/>
          <ac:picMkLst>
            <pc:docMk/>
            <pc:sldMk cId="64473403" sldId="2147473316"/>
            <ac:picMk id="19" creationId="{B9471A3C-1DE8-CCD3-D173-710491B171E7}"/>
          </ac:picMkLst>
        </pc:picChg>
        <pc:picChg chg="add mod">
          <ac:chgData name="Wankhede, Revati Sharad" userId="S::rew158@pitt.edu::d1d1d99c-52bd-4e18-b627-649863e8685d" providerId="AD" clId="Web-{588D6C58-80C3-C6BD-D642-BA5431D10B60}" dt="2025-04-19T17:28:33.345" v="364" actId="1076"/>
          <ac:picMkLst>
            <pc:docMk/>
            <pc:sldMk cId="64473403" sldId="2147473316"/>
            <ac:picMk id="27" creationId="{9CCFCEE4-976E-CF11-01E3-1A43703CF103}"/>
          </ac:picMkLst>
        </pc:picChg>
        <pc:cxnChg chg="add mod">
          <ac:chgData name="Wankhede, Revati Sharad" userId="S::rew158@pitt.edu::d1d1d99c-52bd-4e18-b627-649863e8685d" providerId="AD" clId="Web-{588D6C58-80C3-C6BD-D642-BA5431D10B60}" dt="2025-04-19T17:27:46.610" v="334" actId="1076"/>
          <ac:cxnSpMkLst>
            <pc:docMk/>
            <pc:sldMk cId="64473403" sldId="2147473316"/>
            <ac:cxnSpMk id="5" creationId="{EC144A42-5528-9D0D-3956-1EBD1C2FD30A}"/>
          </ac:cxnSpMkLst>
        </pc:cxnChg>
      </pc:sldChg>
      <pc:sldChg chg="addSp delSp modSp add replId">
        <pc:chgData name="Wankhede, Revati Sharad" userId="S::rew158@pitt.edu::d1d1d99c-52bd-4e18-b627-649863e8685d" providerId="AD" clId="Web-{588D6C58-80C3-C6BD-D642-BA5431D10B60}" dt="2025-04-19T17:30:45.618" v="403" actId="14100"/>
        <pc:sldMkLst>
          <pc:docMk/>
          <pc:sldMk cId="219299312" sldId="2147473317"/>
        </pc:sldMkLst>
        <pc:spChg chg="mod">
          <ac:chgData name="Wankhede, Revati Sharad" userId="S::rew158@pitt.edu::d1d1d99c-52bd-4e18-b627-649863e8685d" providerId="AD" clId="Web-{588D6C58-80C3-C6BD-D642-BA5431D10B60}" dt="2025-04-19T17:29:54.192" v="396" actId="20577"/>
          <ac:spMkLst>
            <pc:docMk/>
            <pc:sldMk cId="219299312" sldId="2147473317"/>
            <ac:spMk id="2" creationId="{C6BE4C9A-BDBC-970A-3DE0-0D87DCEFBFF9}"/>
          </ac:spMkLst>
        </pc:spChg>
        <pc:spChg chg="mod topLvl">
          <ac:chgData name="Wankhede, Revati Sharad" userId="S::rew158@pitt.edu::d1d1d99c-52bd-4e18-b627-649863e8685d" providerId="AD" clId="Web-{588D6C58-80C3-C6BD-D642-BA5431D10B60}" dt="2025-04-19T17:30:45.618" v="403" actId="14100"/>
          <ac:spMkLst>
            <pc:docMk/>
            <pc:sldMk cId="219299312" sldId="2147473317"/>
            <ac:spMk id="4" creationId="{60781617-9455-0A44-5671-C2C8FD9D951C}"/>
          </ac:spMkLst>
        </pc:spChg>
        <pc:spChg chg="del mod topLvl">
          <ac:chgData name="Wankhede, Revati Sharad" userId="S::rew158@pitt.edu::d1d1d99c-52bd-4e18-b627-649863e8685d" providerId="AD" clId="Web-{588D6C58-80C3-C6BD-D642-BA5431D10B60}" dt="2025-04-19T17:30:13.570" v="399"/>
          <ac:spMkLst>
            <pc:docMk/>
            <pc:sldMk cId="219299312" sldId="2147473317"/>
            <ac:spMk id="6" creationId="{ACF38DFD-F5CC-3549-BDA4-A29B3443BF41}"/>
          </ac:spMkLst>
        </pc:spChg>
        <pc:spChg chg="del">
          <ac:chgData name="Wankhede, Revati Sharad" userId="S::rew158@pitt.edu::d1d1d99c-52bd-4e18-b627-649863e8685d" providerId="AD" clId="Web-{588D6C58-80C3-C6BD-D642-BA5431D10B60}" dt="2025-04-19T17:29:01.081" v="371"/>
          <ac:spMkLst>
            <pc:docMk/>
            <pc:sldMk cId="219299312" sldId="2147473317"/>
            <ac:spMk id="9" creationId="{C3FAEB6B-C7BE-898A-F9B4-77CB7509F1C6}"/>
          </ac:spMkLst>
        </pc:spChg>
        <pc:spChg chg="del">
          <ac:chgData name="Wankhede, Revati Sharad" userId="S::rew158@pitt.edu::d1d1d99c-52bd-4e18-b627-649863e8685d" providerId="AD" clId="Web-{588D6C58-80C3-C6BD-D642-BA5431D10B60}" dt="2025-04-19T17:29:05.081" v="374"/>
          <ac:spMkLst>
            <pc:docMk/>
            <pc:sldMk cId="219299312" sldId="2147473317"/>
            <ac:spMk id="11" creationId="{CAAA4F2D-8918-32F6-9F98-24679F2C68E8}"/>
          </ac:spMkLst>
        </pc:spChg>
        <pc:spChg chg="del mod">
          <ac:chgData name="Wankhede, Revati Sharad" userId="S::rew158@pitt.edu::d1d1d99c-52bd-4e18-b627-649863e8685d" providerId="AD" clId="Web-{588D6C58-80C3-C6BD-D642-BA5431D10B60}" dt="2025-04-19T17:29:03.174" v="373"/>
          <ac:spMkLst>
            <pc:docMk/>
            <pc:sldMk cId="219299312" sldId="2147473317"/>
            <ac:spMk id="14" creationId="{41525288-AB03-A43A-29D5-7F119645D51D}"/>
          </ac:spMkLst>
        </pc:spChg>
        <pc:grpChg chg="add del">
          <ac:chgData name="Wankhede, Revati Sharad" userId="S::rew158@pitt.edu::d1d1d99c-52bd-4e18-b627-649863e8685d" providerId="AD" clId="Web-{588D6C58-80C3-C6BD-D642-BA5431D10B60}" dt="2025-04-19T17:30:13.570" v="399"/>
          <ac:grpSpMkLst>
            <pc:docMk/>
            <pc:sldMk cId="219299312" sldId="2147473317"/>
            <ac:grpSpMk id="7" creationId="{083643FC-D1DF-09FC-F166-6C735EF76D16}"/>
          </ac:grpSpMkLst>
        </pc:grpChg>
        <pc:grpChg chg="del">
          <ac:chgData name="Wankhede, Revati Sharad" userId="S::rew158@pitt.edu::d1d1d99c-52bd-4e18-b627-649863e8685d" providerId="AD" clId="Web-{588D6C58-80C3-C6BD-D642-BA5431D10B60}" dt="2025-04-19T17:29:16.784" v="375"/>
          <ac:grpSpMkLst>
            <pc:docMk/>
            <pc:sldMk cId="219299312" sldId="2147473317"/>
            <ac:grpSpMk id="32" creationId="{2CEEDC06-23F9-E464-98F0-A66F1562FE60}"/>
          </ac:grpSpMkLst>
        </pc:grpChg>
        <pc:picChg chg="del">
          <ac:chgData name="Wankhede, Revati Sharad" userId="S::rew158@pitt.edu::d1d1d99c-52bd-4e18-b627-649863e8685d" providerId="AD" clId="Web-{588D6C58-80C3-C6BD-D642-BA5431D10B60}" dt="2025-04-19T17:28:58.737" v="369"/>
          <ac:picMkLst>
            <pc:docMk/>
            <pc:sldMk cId="219299312" sldId="2147473317"/>
            <ac:picMk id="17" creationId="{AFAD9AB4-3D02-AB94-186B-C89A5CD59ACA}"/>
          </ac:picMkLst>
        </pc:picChg>
        <pc:picChg chg="del">
          <ac:chgData name="Wankhede, Revati Sharad" userId="S::rew158@pitt.edu::d1d1d99c-52bd-4e18-b627-649863e8685d" providerId="AD" clId="Web-{588D6C58-80C3-C6BD-D642-BA5431D10B60}" dt="2025-04-19T17:28:58.002" v="368"/>
          <ac:picMkLst>
            <pc:docMk/>
            <pc:sldMk cId="219299312" sldId="2147473317"/>
            <ac:picMk id="19" creationId="{A8C8D950-9CBD-8735-FEBD-D8206EE161A7}"/>
          </ac:picMkLst>
        </pc:picChg>
        <pc:picChg chg="del">
          <ac:chgData name="Wankhede, Revati Sharad" userId="S::rew158@pitt.edu::d1d1d99c-52bd-4e18-b627-649863e8685d" providerId="AD" clId="Web-{588D6C58-80C3-C6BD-D642-BA5431D10B60}" dt="2025-04-19T17:28:59.252" v="370"/>
          <ac:picMkLst>
            <pc:docMk/>
            <pc:sldMk cId="219299312" sldId="2147473317"/>
            <ac:picMk id="27" creationId="{C43CA140-86A6-24D2-6E62-7776B4B9A1E4}"/>
          </ac:picMkLst>
        </pc:picChg>
        <pc:cxnChg chg="del">
          <ac:chgData name="Wankhede, Revati Sharad" userId="S::rew158@pitt.edu::d1d1d99c-52bd-4e18-b627-649863e8685d" providerId="AD" clId="Web-{588D6C58-80C3-C6BD-D642-BA5431D10B60}" dt="2025-04-19T17:29:23.472" v="377"/>
          <ac:cxnSpMkLst>
            <pc:docMk/>
            <pc:sldMk cId="219299312" sldId="2147473317"/>
            <ac:cxnSpMk id="5" creationId="{F784AF04-0CB0-6F6F-6248-1DD8531FA9AB}"/>
          </ac:cxnSpMkLst>
        </pc:cxnChg>
      </pc:sldChg>
      <pc:sldChg chg="modSp add replId">
        <pc:chgData name="Wankhede, Revati Sharad" userId="S::rew158@pitt.edu::d1d1d99c-52bd-4e18-b627-649863e8685d" providerId="AD" clId="Web-{588D6C58-80C3-C6BD-D642-BA5431D10B60}" dt="2025-04-19T17:31:40.604" v="429" actId="20577"/>
        <pc:sldMkLst>
          <pc:docMk/>
          <pc:sldMk cId="62158342" sldId="2147473318"/>
        </pc:sldMkLst>
        <pc:spChg chg="mod">
          <ac:chgData name="Wankhede, Revati Sharad" userId="S::rew158@pitt.edu::d1d1d99c-52bd-4e18-b627-649863e8685d" providerId="AD" clId="Web-{588D6C58-80C3-C6BD-D642-BA5431D10B60}" dt="2025-04-19T17:31:40.604" v="429" actId="20577"/>
          <ac:spMkLst>
            <pc:docMk/>
            <pc:sldMk cId="62158342" sldId="2147473318"/>
            <ac:spMk id="2" creationId="{412B7FC7-EDFA-C53E-36FF-BE8B003EA900}"/>
          </ac:spMkLst>
        </pc:spChg>
      </pc:sldChg>
      <pc:sldChg chg="modSp add replId">
        <pc:chgData name="Wankhede, Revati Sharad" userId="S::rew158@pitt.edu::d1d1d99c-52bd-4e18-b627-649863e8685d" providerId="AD" clId="Web-{588D6C58-80C3-C6BD-D642-BA5431D10B60}" dt="2025-04-19T17:31:51.214" v="438" actId="20577"/>
        <pc:sldMkLst>
          <pc:docMk/>
          <pc:sldMk cId="636418943" sldId="2147473319"/>
        </pc:sldMkLst>
        <pc:spChg chg="mod">
          <ac:chgData name="Wankhede, Revati Sharad" userId="S::rew158@pitt.edu::d1d1d99c-52bd-4e18-b627-649863e8685d" providerId="AD" clId="Web-{588D6C58-80C3-C6BD-D642-BA5431D10B60}" dt="2025-04-19T17:31:51.214" v="438" actId="20577"/>
          <ac:spMkLst>
            <pc:docMk/>
            <pc:sldMk cId="636418943" sldId="2147473319"/>
            <ac:spMk id="2" creationId="{7530A637-6622-4F8C-8F1E-BF9056007918}"/>
          </ac:spMkLst>
        </pc:spChg>
      </pc:sldChg>
      <pc:sldChg chg="delSp modSp add ord replId">
        <pc:chgData name="Wankhede, Revati Sharad" userId="S::rew158@pitt.edu::d1d1d99c-52bd-4e18-b627-649863e8685d" providerId="AD" clId="Web-{588D6C58-80C3-C6BD-D642-BA5431D10B60}" dt="2025-04-19T17:32:39.746" v="452" actId="20577"/>
        <pc:sldMkLst>
          <pc:docMk/>
          <pc:sldMk cId="3240406354" sldId="2147473320"/>
        </pc:sldMkLst>
        <pc:spChg chg="mod">
          <ac:chgData name="Wankhede, Revati Sharad" userId="S::rew158@pitt.edu::d1d1d99c-52bd-4e18-b627-649863e8685d" providerId="AD" clId="Web-{588D6C58-80C3-C6BD-D642-BA5431D10B60}" dt="2025-04-19T17:32:39.746" v="452" actId="20577"/>
          <ac:spMkLst>
            <pc:docMk/>
            <pc:sldMk cId="3240406354" sldId="2147473320"/>
            <ac:spMk id="2" creationId="{563D8549-0A3F-288E-A38A-C03D41F16D09}"/>
          </ac:spMkLst>
        </pc:spChg>
        <pc:spChg chg="del">
          <ac:chgData name="Wankhede, Revati Sharad" userId="S::rew158@pitt.edu::d1d1d99c-52bd-4e18-b627-649863e8685d" providerId="AD" clId="Web-{588D6C58-80C3-C6BD-D642-BA5431D10B60}" dt="2025-04-19T17:32:08.558" v="446"/>
          <ac:spMkLst>
            <pc:docMk/>
            <pc:sldMk cId="3240406354" sldId="2147473320"/>
            <ac:spMk id="9" creationId="{DD0B66C8-BB18-8F8B-C385-FE41A17582BC}"/>
          </ac:spMkLst>
        </pc:spChg>
        <pc:spChg chg="del">
          <ac:chgData name="Wankhede, Revati Sharad" userId="S::rew158@pitt.edu::d1d1d99c-52bd-4e18-b627-649863e8685d" providerId="AD" clId="Web-{588D6C58-80C3-C6BD-D642-BA5431D10B60}" dt="2025-04-19T17:32:08.558" v="445"/>
          <ac:spMkLst>
            <pc:docMk/>
            <pc:sldMk cId="3240406354" sldId="2147473320"/>
            <ac:spMk id="11" creationId="{991E87C7-07D7-8E1D-E2A0-1905DE953AFC}"/>
          </ac:spMkLst>
        </pc:spChg>
        <pc:spChg chg="del">
          <ac:chgData name="Wankhede, Revati Sharad" userId="S::rew158@pitt.edu::d1d1d99c-52bd-4e18-b627-649863e8685d" providerId="AD" clId="Web-{588D6C58-80C3-C6BD-D642-BA5431D10B60}" dt="2025-04-19T17:32:08.558" v="444"/>
          <ac:spMkLst>
            <pc:docMk/>
            <pc:sldMk cId="3240406354" sldId="2147473320"/>
            <ac:spMk id="14" creationId="{C59E1CBE-FBB2-4BE2-2B83-AE8ABFE7A514}"/>
          </ac:spMkLst>
        </pc:spChg>
        <pc:picChg chg="del">
          <ac:chgData name="Wankhede, Revati Sharad" userId="S::rew158@pitt.edu::d1d1d99c-52bd-4e18-b627-649863e8685d" providerId="AD" clId="Web-{588D6C58-80C3-C6BD-D642-BA5431D10B60}" dt="2025-04-19T17:32:08.558" v="443"/>
          <ac:picMkLst>
            <pc:docMk/>
            <pc:sldMk cId="3240406354" sldId="2147473320"/>
            <ac:picMk id="17" creationId="{D3FFF718-87C8-AD48-4576-4BC404607F63}"/>
          </ac:picMkLst>
        </pc:picChg>
        <pc:picChg chg="del">
          <ac:chgData name="Wankhede, Revati Sharad" userId="S::rew158@pitt.edu::d1d1d99c-52bd-4e18-b627-649863e8685d" providerId="AD" clId="Web-{588D6C58-80C3-C6BD-D642-BA5431D10B60}" dt="2025-04-19T17:32:08.558" v="442"/>
          <ac:picMkLst>
            <pc:docMk/>
            <pc:sldMk cId="3240406354" sldId="2147473320"/>
            <ac:picMk id="19" creationId="{12C79C56-0C69-E71B-B944-426E646AA619}"/>
          </ac:picMkLst>
        </pc:picChg>
        <pc:picChg chg="del">
          <ac:chgData name="Wankhede, Revati Sharad" userId="S::rew158@pitt.edu::d1d1d99c-52bd-4e18-b627-649863e8685d" providerId="AD" clId="Web-{588D6C58-80C3-C6BD-D642-BA5431D10B60}" dt="2025-04-19T17:32:08.558" v="441"/>
          <ac:picMkLst>
            <pc:docMk/>
            <pc:sldMk cId="3240406354" sldId="2147473320"/>
            <ac:picMk id="27" creationId="{4E5A932C-A10A-91DA-CECB-2E480F415626}"/>
          </ac:picMkLst>
        </pc:picChg>
      </pc:sldChg>
      <pc:sldChg chg="del">
        <pc:chgData name="Wankhede, Revati Sharad" userId="S::rew158@pitt.edu::d1d1d99c-52bd-4e18-b627-649863e8685d" providerId="AD" clId="Web-{588D6C58-80C3-C6BD-D642-BA5431D10B60}" dt="2025-04-19T17:10:25.636" v="82"/>
        <pc:sldMkLst>
          <pc:docMk/>
          <pc:sldMk cId="3375026698" sldId="2147473320"/>
        </pc:sldMkLst>
      </pc:sldChg>
    </pc:docChg>
  </pc:docChgLst>
  <pc:docChgLst>
    <pc:chgData name="Hsiao, Azure" userId="S::yih197@pitt.edu::57a12e0c-a4a1-4334-ab7f-af711050c8c8" providerId="AD" clId="Web-{878461C2-182C-F4D4-821E-D8CEA9751ECA}"/>
    <pc:docChg chg="delSld modSld">
      <pc:chgData name="Hsiao, Azure" userId="S::yih197@pitt.edu::57a12e0c-a4a1-4334-ab7f-af711050c8c8" providerId="AD" clId="Web-{878461C2-182C-F4D4-821E-D8CEA9751ECA}" dt="2025-04-21T15:41:53.456" v="245"/>
      <pc:docMkLst>
        <pc:docMk/>
      </pc:docMkLst>
      <pc:sldChg chg="modSp modNotes">
        <pc:chgData name="Hsiao, Azure" userId="S::yih197@pitt.edu::57a12e0c-a4a1-4334-ab7f-af711050c8c8" providerId="AD" clId="Web-{878461C2-182C-F4D4-821E-D8CEA9751ECA}" dt="2025-04-21T15:11:51.245" v="81"/>
        <pc:sldMkLst>
          <pc:docMk/>
          <pc:sldMk cId="2096876042" sldId="2147473321"/>
        </pc:sldMkLst>
        <pc:spChg chg="mod">
          <ac:chgData name="Hsiao, Azure" userId="S::yih197@pitt.edu::57a12e0c-a4a1-4334-ab7f-af711050c8c8" providerId="AD" clId="Web-{878461C2-182C-F4D4-821E-D8CEA9751ECA}" dt="2025-04-21T14:27:49.359" v="20" actId="20577"/>
          <ac:spMkLst>
            <pc:docMk/>
            <pc:sldMk cId="2096876042" sldId="2147473321"/>
            <ac:spMk id="2" creationId="{130C3B13-F67C-A06C-CDCD-6AAA712BFE82}"/>
          </ac:spMkLst>
        </pc:spChg>
      </pc:sldChg>
      <pc:sldChg chg="del">
        <pc:chgData name="Hsiao, Azure" userId="S::yih197@pitt.edu::57a12e0c-a4a1-4334-ab7f-af711050c8c8" providerId="AD" clId="Web-{878461C2-182C-F4D4-821E-D8CEA9751ECA}" dt="2025-04-21T14:40:24.813" v="65"/>
        <pc:sldMkLst>
          <pc:docMk/>
          <pc:sldMk cId="3608760087" sldId="2147473326"/>
        </pc:sldMkLst>
      </pc:sldChg>
      <pc:sldChg chg="addSp modSp modNotes">
        <pc:chgData name="Hsiao, Azure" userId="S::yih197@pitt.edu::57a12e0c-a4a1-4334-ab7f-af711050c8c8" providerId="AD" clId="Web-{878461C2-182C-F4D4-821E-D8CEA9751ECA}" dt="2025-04-21T15:41:53.456" v="245"/>
        <pc:sldMkLst>
          <pc:docMk/>
          <pc:sldMk cId="1350242171" sldId="2147473334"/>
        </pc:sldMkLst>
        <pc:spChg chg="add mod">
          <ac:chgData name="Hsiao, Azure" userId="S::yih197@pitt.edu::57a12e0c-a4a1-4334-ab7f-af711050c8c8" providerId="AD" clId="Web-{878461C2-182C-F4D4-821E-D8CEA9751ECA}" dt="2025-04-21T15:30:32.222" v="172" actId="20577"/>
          <ac:spMkLst>
            <pc:docMk/>
            <pc:sldMk cId="1350242171" sldId="2147473334"/>
            <ac:spMk id="6" creationId="{948E966C-71F5-081E-8679-2FAEA890C18E}"/>
          </ac:spMkLst>
        </pc:spChg>
        <pc:spChg chg="add mod">
          <ac:chgData name="Hsiao, Azure" userId="S::yih197@pitt.edu::57a12e0c-a4a1-4334-ab7f-af711050c8c8" providerId="AD" clId="Web-{878461C2-182C-F4D4-821E-D8CEA9751ECA}" dt="2025-04-21T15:41:53.456" v="245"/>
          <ac:spMkLst>
            <pc:docMk/>
            <pc:sldMk cId="1350242171" sldId="2147473334"/>
            <ac:spMk id="7" creationId="{D9D73F9A-A651-67C9-2560-009BC95BB3CE}"/>
          </ac:spMkLst>
        </pc:spChg>
        <pc:picChg chg="mod">
          <ac:chgData name="Hsiao, Azure" userId="S::yih197@pitt.edu::57a12e0c-a4a1-4334-ab7f-af711050c8c8" providerId="AD" clId="Web-{878461C2-182C-F4D4-821E-D8CEA9751ECA}" dt="2025-04-21T15:40:54.486" v="232" actId="1076"/>
          <ac:picMkLst>
            <pc:docMk/>
            <pc:sldMk cId="1350242171" sldId="2147473334"/>
            <ac:picMk id="3" creationId="{B90C8E24-D2FD-F0DE-2312-92DEF4106FC1}"/>
          </ac:picMkLst>
        </pc:picChg>
      </pc:sldChg>
      <pc:sldChg chg="addSp delSp modSp modNotes">
        <pc:chgData name="Hsiao, Azure" userId="S::yih197@pitt.edu::57a12e0c-a4a1-4334-ab7f-af711050c8c8" providerId="AD" clId="Web-{878461C2-182C-F4D4-821E-D8CEA9751ECA}" dt="2025-04-21T15:35:48.760" v="183" actId="1076"/>
        <pc:sldMkLst>
          <pc:docMk/>
          <pc:sldMk cId="4243968148" sldId="2147473335"/>
        </pc:sldMkLst>
        <pc:spChg chg="add mod">
          <ac:chgData name="Hsiao, Azure" userId="S::yih197@pitt.edu::57a12e0c-a4a1-4334-ab7f-af711050c8c8" providerId="AD" clId="Web-{878461C2-182C-F4D4-821E-D8CEA9751ECA}" dt="2025-04-21T15:27:05.186" v="111"/>
          <ac:spMkLst>
            <pc:docMk/>
            <pc:sldMk cId="4243968148" sldId="2147473335"/>
            <ac:spMk id="3" creationId="{BBB1B563-874E-8517-9216-6E6620C0B9B9}"/>
          </ac:spMkLst>
        </pc:spChg>
        <pc:spChg chg="add mod">
          <ac:chgData name="Hsiao, Azure" userId="S::yih197@pitt.edu::57a12e0c-a4a1-4334-ab7f-af711050c8c8" providerId="AD" clId="Web-{878461C2-182C-F4D4-821E-D8CEA9751ECA}" dt="2025-04-21T15:27:14.062" v="114" actId="14100"/>
          <ac:spMkLst>
            <pc:docMk/>
            <pc:sldMk cId="4243968148" sldId="2147473335"/>
            <ac:spMk id="6" creationId="{CA1FE4F4-4316-57BC-8B65-8B2B89396982}"/>
          </ac:spMkLst>
        </pc:spChg>
        <pc:spChg chg="add mod">
          <ac:chgData name="Hsiao, Azure" userId="S::yih197@pitt.edu::57a12e0c-a4a1-4334-ab7f-af711050c8c8" providerId="AD" clId="Web-{878461C2-182C-F4D4-821E-D8CEA9751ECA}" dt="2025-04-21T15:28:46.439" v="156"/>
          <ac:spMkLst>
            <pc:docMk/>
            <pc:sldMk cId="4243968148" sldId="2147473335"/>
            <ac:spMk id="7" creationId="{AE48F66C-BCBF-D250-5A4F-47BB3453F4B3}"/>
          </ac:spMkLst>
        </pc:spChg>
        <pc:spChg chg="add del mod">
          <ac:chgData name="Hsiao, Azure" userId="S::yih197@pitt.edu::57a12e0c-a4a1-4334-ab7f-af711050c8c8" providerId="AD" clId="Web-{878461C2-182C-F4D4-821E-D8CEA9751ECA}" dt="2025-04-21T15:35:48.760" v="183" actId="1076"/>
          <ac:spMkLst>
            <pc:docMk/>
            <pc:sldMk cId="4243968148" sldId="2147473335"/>
            <ac:spMk id="8" creationId="{09567012-FD69-05FE-849D-E2228534295C}"/>
          </ac:spMkLst>
        </pc:spChg>
      </pc:sldChg>
      <pc:sldChg chg="addSp delSp modSp modNotes">
        <pc:chgData name="Hsiao, Azure" userId="S::yih197@pitt.edu::57a12e0c-a4a1-4334-ab7f-af711050c8c8" providerId="AD" clId="Web-{878461C2-182C-F4D4-821E-D8CEA9751ECA}" dt="2025-04-21T15:26:32.764" v="106" actId="14100"/>
        <pc:sldMkLst>
          <pc:docMk/>
          <pc:sldMk cId="1196946110" sldId="2147473336"/>
        </pc:sldMkLst>
        <pc:spChg chg="mod">
          <ac:chgData name="Hsiao, Azure" userId="S::yih197@pitt.edu::57a12e0c-a4a1-4334-ab7f-af711050c8c8" providerId="AD" clId="Web-{878461C2-182C-F4D4-821E-D8CEA9751ECA}" dt="2025-04-21T14:37:48.388" v="22" actId="20577"/>
          <ac:spMkLst>
            <pc:docMk/>
            <pc:sldMk cId="1196946110" sldId="2147473336"/>
            <ac:spMk id="2" creationId="{B463CA1A-1B6D-997B-18C9-0F033A375000}"/>
          </ac:spMkLst>
        </pc:spChg>
        <pc:spChg chg="del mod">
          <ac:chgData name="Hsiao, Azure" userId="S::yih197@pitt.edu::57a12e0c-a4a1-4334-ab7f-af711050c8c8" providerId="AD" clId="Web-{878461C2-182C-F4D4-821E-D8CEA9751ECA}" dt="2025-04-21T14:46:22.993" v="66"/>
          <ac:spMkLst>
            <pc:docMk/>
            <pc:sldMk cId="1196946110" sldId="2147473336"/>
            <ac:spMk id="6" creationId="{7DF36DC9-D3C6-2E10-40FB-52D9AF674B1F}"/>
          </ac:spMkLst>
        </pc:spChg>
        <pc:spChg chg="add mod">
          <ac:chgData name="Hsiao, Azure" userId="S::yih197@pitt.edu::57a12e0c-a4a1-4334-ab7f-af711050c8c8" providerId="AD" clId="Web-{878461C2-182C-F4D4-821E-D8CEA9751ECA}" dt="2025-04-21T14:48:15.745" v="75" actId="20577"/>
          <ac:spMkLst>
            <pc:docMk/>
            <pc:sldMk cId="1196946110" sldId="2147473336"/>
            <ac:spMk id="8" creationId="{E24ECF1E-54FE-42FB-08CC-BFC6D66576C0}"/>
          </ac:spMkLst>
        </pc:spChg>
        <pc:spChg chg="add mod">
          <ac:chgData name="Hsiao, Azure" userId="S::yih197@pitt.edu::57a12e0c-a4a1-4334-ab7f-af711050c8c8" providerId="AD" clId="Web-{878461C2-182C-F4D4-821E-D8CEA9751ECA}" dt="2025-04-21T15:25:46.013" v="100" actId="14100"/>
          <ac:spMkLst>
            <pc:docMk/>
            <pc:sldMk cId="1196946110" sldId="2147473336"/>
            <ac:spMk id="9" creationId="{86E436DD-FBD8-A52D-876E-94978F28FEAE}"/>
          </ac:spMkLst>
        </pc:spChg>
        <pc:spChg chg="add mod">
          <ac:chgData name="Hsiao, Azure" userId="S::yih197@pitt.edu::57a12e0c-a4a1-4334-ab7f-af711050c8c8" providerId="AD" clId="Web-{878461C2-182C-F4D4-821E-D8CEA9751ECA}" dt="2025-04-21T15:26:32.764" v="106" actId="14100"/>
          <ac:spMkLst>
            <pc:docMk/>
            <pc:sldMk cId="1196946110" sldId="2147473336"/>
            <ac:spMk id="10" creationId="{96C4A776-6C3C-5ACF-5DCD-BEC9F6A28C3B}"/>
          </ac:spMkLst>
        </pc:spChg>
        <pc:picChg chg="add mod">
          <ac:chgData name="Hsiao, Azure" userId="S::yih197@pitt.edu::57a12e0c-a4a1-4334-ab7f-af711050c8c8" providerId="AD" clId="Web-{878461C2-182C-F4D4-821E-D8CEA9751ECA}" dt="2025-04-21T14:58:50.478" v="79" actId="1076"/>
          <ac:picMkLst>
            <pc:docMk/>
            <pc:sldMk cId="1196946110" sldId="2147473336"/>
            <ac:picMk id="4" creationId="{60FE0FDF-E7B4-5047-DC60-2A48CD2FF33E}"/>
          </ac:picMkLst>
        </pc:picChg>
        <pc:picChg chg="mod modCrop">
          <ac:chgData name="Hsiao, Azure" userId="S::yih197@pitt.edu::57a12e0c-a4a1-4334-ab7f-af711050c8c8" providerId="AD" clId="Web-{878461C2-182C-F4D4-821E-D8CEA9751ECA}" dt="2025-04-21T14:58:48.556" v="78" actId="1076"/>
          <ac:picMkLst>
            <pc:docMk/>
            <pc:sldMk cId="1196946110" sldId="2147473336"/>
            <ac:picMk id="7" creationId="{EEDDAF02-7937-F7B7-B5BB-F349B4521C2E}"/>
          </ac:picMkLst>
        </pc:picChg>
      </pc:sldChg>
      <pc:sldChg chg="modSp">
        <pc:chgData name="Hsiao, Azure" userId="S::yih197@pitt.edu::57a12e0c-a4a1-4334-ab7f-af711050c8c8" providerId="AD" clId="Web-{878461C2-182C-F4D4-821E-D8CEA9751ECA}" dt="2025-04-21T15:40:22.516" v="226" actId="20577"/>
        <pc:sldMkLst>
          <pc:docMk/>
          <pc:sldMk cId="3068515157" sldId="2147473337"/>
        </pc:sldMkLst>
        <pc:spChg chg="mod">
          <ac:chgData name="Hsiao, Azure" userId="S::yih197@pitt.edu::57a12e0c-a4a1-4334-ab7f-af711050c8c8" providerId="AD" clId="Web-{878461C2-182C-F4D4-821E-D8CEA9751ECA}" dt="2025-04-21T15:40:22.516" v="226" actId="20577"/>
          <ac:spMkLst>
            <pc:docMk/>
            <pc:sldMk cId="3068515157" sldId="2147473337"/>
            <ac:spMk id="3" creationId="{6C1342F9-189A-AAEF-24CC-2C89BC3482F7}"/>
          </ac:spMkLst>
        </pc:spChg>
      </pc:sldChg>
    </pc:docChg>
  </pc:docChgLst>
  <pc:docChgLst>
    <pc:chgData name="Liu, Timothy" userId="S::chl570@pitt.edu::e71bb192-b359-4eae-a81d-4582e30b7736" providerId="AD" clId="Web-{5A5FCBF8-9482-933F-EB8D-319FDBC81861}"/>
    <pc:docChg chg="modSld">
      <pc:chgData name="Liu, Timothy" userId="S::chl570@pitt.edu::e71bb192-b359-4eae-a81d-4582e30b7736" providerId="AD" clId="Web-{5A5FCBF8-9482-933F-EB8D-319FDBC81861}" dt="2025-04-21T15:25:24.767" v="13"/>
      <pc:docMkLst>
        <pc:docMk/>
      </pc:docMkLst>
      <pc:sldChg chg="modNotes">
        <pc:chgData name="Liu, Timothy" userId="S::chl570@pitt.edu::e71bb192-b359-4eae-a81d-4582e30b7736" providerId="AD" clId="Web-{5A5FCBF8-9482-933F-EB8D-319FDBC81861}" dt="2025-04-21T15:23:57.608" v="5"/>
        <pc:sldMkLst>
          <pc:docMk/>
          <pc:sldMk cId="1939484485" sldId="2147473323"/>
        </pc:sldMkLst>
      </pc:sldChg>
      <pc:sldChg chg="modNotes">
        <pc:chgData name="Liu, Timothy" userId="S::chl570@pitt.edu::e71bb192-b359-4eae-a81d-4582e30b7736" providerId="AD" clId="Web-{5A5FCBF8-9482-933F-EB8D-319FDBC81861}" dt="2025-04-21T15:25:24.767" v="13"/>
        <pc:sldMkLst>
          <pc:docMk/>
          <pc:sldMk cId="3958798967" sldId="2147473333"/>
        </pc:sldMkLst>
      </pc:sldChg>
    </pc:docChg>
  </pc:docChgLst>
  <pc:docChgLst>
    <pc:chgData name="Liu, Timothy" userId="S::chl570@pitt.edu::e71bb192-b359-4eae-a81d-4582e30b7736" providerId="AD" clId="Web-{54667268-3C32-1CAC-ED4B-1731CC33B7AA}"/>
    <pc:docChg chg="addSld modSld">
      <pc:chgData name="Liu, Timothy" userId="S::chl570@pitt.edu::e71bb192-b359-4eae-a81d-4582e30b7736" providerId="AD" clId="Web-{54667268-3C32-1CAC-ED4B-1731CC33B7AA}" dt="2025-04-20T16:33:40.714" v="645" actId="1076"/>
      <pc:docMkLst>
        <pc:docMk/>
      </pc:docMkLst>
      <pc:sldChg chg="addSp delSp modSp">
        <pc:chgData name="Liu, Timothy" userId="S::chl570@pitt.edu::e71bb192-b359-4eae-a81d-4582e30b7736" providerId="AD" clId="Web-{54667268-3C32-1CAC-ED4B-1731CC33B7AA}" dt="2025-04-20T16:13:40.024" v="558" actId="1076"/>
        <pc:sldMkLst>
          <pc:docMk/>
          <pc:sldMk cId="1939484485" sldId="2147473323"/>
        </pc:sldMkLst>
        <pc:spChg chg="mod">
          <ac:chgData name="Liu, Timothy" userId="S::chl570@pitt.edu::e71bb192-b359-4eae-a81d-4582e30b7736" providerId="AD" clId="Web-{54667268-3C32-1CAC-ED4B-1731CC33B7AA}" dt="2025-04-20T15:44:35.598" v="443" actId="20577"/>
          <ac:spMkLst>
            <pc:docMk/>
            <pc:sldMk cId="1939484485" sldId="2147473323"/>
            <ac:spMk id="2" creationId="{4776F19C-1E85-12AF-AE51-B0FC68B3A124}"/>
          </ac:spMkLst>
        </pc:spChg>
        <pc:spChg chg="del mod">
          <ac:chgData name="Liu, Timothy" userId="S::chl570@pitt.edu::e71bb192-b359-4eae-a81d-4582e30b7736" providerId="AD" clId="Web-{54667268-3C32-1CAC-ED4B-1731CC33B7AA}" dt="2025-04-20T03:53:32.244" v="5"/>
          <ac:spMkLst>
            <pc:docMk/>
            <pc:sldMk cId="1939484485" sldId="2147473323"/>
            <ac:spMk id="4" creationId="{253FC4A7-C396-5E06-34D1-49F0C7DD0E93}"/>
          </ac:spMkLst>
        </pc:spChg>
        <pc:spChg chg="add mod">
          <ac:chgData name="Liu, Timothy" userId="S::chl570@pitt.edu::e71bb192-b359-4eae-a81d-4582e30b7736" providerId="AD" clId="Web-{54667268-3C32-1CAC-ED4B-1731CC33B7AA}" dt="2025-04-20T16:12:44.834" v="542" actId="1076"/>
          <ac:spMkLst>
            <pc:docMk/>
            <pc:sldMk cId="1939484485" sldId="2147473323"/>
            <ac:spMk id="7" creationId="{8FD20A29-673B-166B-56A3-7BEA3169AA1F}"/>
          </ac:spMkLst>
        </pc:spChg>
        <pc:spChg chg="add del">
          <ac:chgData name="Liu, Timothy" userId="S::chl570@pitt.edu::e71bb192-b359-4eae-a81d-4582e30b7736" providerId="AD" clId="Web-{54667268-3C32-1CAC-ED4B-1731CC33B7AA}" dt="2025-04-20T16:12:53.006" v="546"/>
          <ac:spMkLst>
            <pc:docMk/>
            <pc:sldMk cId="1939484485" sldId="2147473323"/>
            <ac:spMk id="13" creationId="{5DEF827F-676C-CAD9-AAE4-113E46BDA2CC}"/>
          </ac:spMkLst>
        </pc:spChg>
        <pc:spChg chg="add mod">
          <ac:chgData name="Liu, Timothy" userId="S::chl570@pitt.edu::e71bb192-b359-4eae-a81d-4582e30b7736" providerId="AD" clId="Web-{54667268-3C32-1CAC-ED4B-1731CC33B7AA}" dt="2025-04-20T16:13:25.618" v="557" actId="20577"/>
          <ac:spMkLst>
            <pc:docMk/>
            <pc:sldMk cId="1939484485" sldId="2147473323"/>
            <ac:spMk id="15" creationId="{DEF4C912-39CD-CEFD-1906-C4E48E543E4F}"/>
          </ac:spMkLst>
        </pc:spChg>
        <pc:grpChg chg="add del">
          <ac:chgData name="Liu, Timothy" userId="S::chl570@pitt.edu::e71bb192-b359-4eae-a81d-4582e30b7736" providerId="AD" clId="Web-{54667268-3C32-1CAC-ED4B-1731CC33B7AA}" dt="2025-04-20T16:12:53.006" v="548"/>
          <ac:grpSpMkLst>
            <pc:docMk/>
            <pc:sldMk cId="1939484485" sldId="2147473323"/>
            <ac:grpSpMk id="8" creationId="{21D9B4AD-0DF0-D71C-FCFE-09B807DDC779}"/>
          </ac:grpSpMkLst>
        </pc:grpChg>
        <pc:graphicFrameChg chg="add mod modGraphic">
          <ac:chgData name="Liu, Timothy" userId="S::chl570@pitt.edu::e71bb192-b359-4eae-a81d-4582e30b7736" providerId="AD" clId="Web-{54667268-3C32-1CAC-ED4B-1731CC33B7AA}" dt="2025-04-20T16:13:40.024" v="558" actId="1076"/>
          <ac:graphicFrameMkLst>
            <pc:docMk/>
            <pc:sldMk cId="1939484485" sldId="2147473323"/>
            <ac:graphicFrameMk id="3" creationId="{05A0B7A8-8149-116A-94F4-D711341F73C0}"/>
          </ac:graphicFrameMkLst>
        </pc:graphicFrameChg>
        <pc:picChg chg="add mod">
          <ac:chgData name="Liu, Timothy" userId="S::chl570@pitt.edu::e71bb192-b359-4eae-a81d-4582e30b7736" providerId="AD" clId="Web-{54667268-3C32-1CAC-ED4B-1731CC33B7AA}" dt="2025-04-20T16:11:01.018" v="502" actId="1076"/>
          <ac:picMkLst>
            <pc:docMk/>
            <pc:sldMk cId="1939484485" sldId="2147473323"/>
            <ac:picMk id="4" creationId="{82FFBE4B-D680-A121-BFF4-D2EB13DC9BDC}"/>
          </ac:picMkLst>
        </pc:picChg>
        <pc:picChg chg="add del">
          <ac:chgData name="Liu, Timothy" userId="S::chl570@pitt.edu::e71bb192-b359-4eae-a81d-4582e30b7736" providerId="AD" clId="Web-{54667268-3C32-1CAC-ED4B-1731CC33B7AA}" dt="2025-04-20T16:12:53.006" v="547"/>
          <ac:picMkLst>
            <pc:docMk/>
            <pc:sldMk cId="1939484485" sldId="2147473323"/>
            <ac:picMk id="11" creationId="{06A41BE9-C1DC-5425-9651-8C609BBE78A9}"/>
          </ac:picMkLst>
        </pc:picChg>
        <pc:picChg chg="add mod">
          <ac:chgData name="Liu, Timothy" userId="S::chl570@pitt.edu::e71bb192-b359-4eae-a81d-4582e30b7736" providerId="AD" clId="Web-{54667268-3C32-1CAC-ED4B-1731CC33B7AA}" dt="2025-04-20T16:13:09.820" v="554" actId="1076"/>
          <ac:picMkLst>
            <pc:docMk/>
            <pc:sldMk cId="1939484485" sldId="2147473323"/>
            <ac:picMk id="14" creationId="{646EC832-5D57-F6A6-EA17-C852576B1700}"/>
          </ac:picMkLst>
        </pc:picChg>
      </pc:sldChg>
      <pc:sldChg chg="addSp modSp">
        <pc:chgData name="Liu, Timothy" userId="S::chl570@pitt.edu::e71bb192-b359-4eae-a81d-4582e30b7736" providerId="AD" clId="Web-{54667268-3C32-1CAC-ED4B-1731CC33B7AA}" dt="2025-04-20T16:32:07.460" v="626" actId="1076"/>
        <pc:sldMkLst>
          <pc:docMk/>
          <pc:sldMk cId="247662777" sldId="2147473324"/>
        </pc:sldMkLst>
        <pc:picChg chg="add mod">
          <ac:chgData name="Liu, Timothy" userId="S::chl570@pitt.edu::e71bb192-b359-4eae-a81d-4582e30b7736" providerId="AD" clId="Web-{54667268-3C32-1CAC-ED4B-1731CC33B7AA}" dt="2025-04-20T16:32:07.460" v="626" actId="1076"/>
          <ac:picMkLst>
            <pc:docMk/>
            <pc:sldMk cId="247662777" sldId="2147473324"/>
            <ac:picMk id="3" creationId="{6B4B323D-348F-9B07-97F5-F717128804EC}"/>
          </ac:picMkLst>
        </pc:picChg>
      </pc:sldChg>
      <pc:sldChg chg="delSp modSp add replId">
        <pc:chgData name="Liu, Timothy" userId="S::chl570@pitt.edu::e71bb192-b359-4eae-a81d-4582e30b7736" providerId="AD" clId="Web-{54667268-3C32-1CAC-ED4B-1731CC33B7AA}" dt="2025-04-20T04:38:18.989" v="306" actId="1076"/>
        <pc:sldMkLst>
          <pc:docMk/>
          <pc:sldMk cId="1637087943" sldId="2147473332"/>
        </pc:sldMkLst>
        <pc:spChg chg="mod">
          <ac:chgData name="Liu, Timothy" userId="S::chl570@pitt.edu::e71bb192-b359-4eae-a81d-4582e30b7736" providerId="AD" clId="Web-{54667268-3C32-1CAC-ED4B-1731CC33B7AA}" dt="2025-04-20T04:38:18.989" v="306" actId="1076"/>
          <ac:spMkLst>
            <pc:docMk/>
            <pc:sldMk cId="1637087943" sldId="2147473332"/>
            <ac:spMk id="4" creationId="{D51FDEEC-FB5E-9C1D-7B49-A10D97B40304}"/>
          </ac:spMkLst>
        </pc:spChg>
        <pc:graphicFrameChg chg="del">
          <ac:chgData name="Liu, Timothy" userId="S::chl570@pitt.edu::e71bb192-b359-4eae-a81d-4582e30b7736" providerId="AD" clId="Web-{54667268-3C32-1CAC-ED4B-1731CC33B7AA}" dt="2025-04-20T03:53:20.775" v="3"/>
          <ac:graphicFrameMkLst>
            <pc:docMk/>
            <pc:sldMk cId="1637087943" sldId="2147473332"/>
            <ac:graphicFrameMk id="3" creationId="{DD59958E-1DCE-F1B6-C19F-102B777E4B0E}"/>
          </ac:graphicFrameMkLst>
        </pc:graphicFrameChg>
      </pc:sldChg>
      <pc:sldChg chg="addSp delSp modSp add replId">
        <pc:chgData name="Liu, Timothy" userId="S::chl570@pitt.edu::e71bb192-b359-4eae-a81d-4582e30b7736" providerId="AD" clId="Web-{54667268-3C32-1CAC-ED4B-1731CC33B7AA}" dt="2025-04-20T16:27:23.497" v="621" actId="20577"/>
        <pc:sldMkLst>
          <pc:docMk/>
          <pc:sldMk cId="3958798967" sldId="2147473333"/>
        </pc:sldMkLst>
        <pc:spChg chg="mod">
          <ac:chgData name="Liu, Timothy" userId="S::chl570@pitt.edu::e71bb192-b359-4eae-a81d-4582e30b7736" providerId="AD" clId="Web-{54667268-3C32-1CAC-ED4B-1731CC33B7AA}" dt="2025-04-20T04:24:16.207" v="282" actId="20577"/>
          <ac:spMkLst>
            <pc:docMk/>
            <pc:sldMk cId="3958798967" sldId="2147473333"/>
            <ac:spMk id="2" creationId="{F6A0BBF1-25A2-58FD-4341-BAD9375E321A}"/>
          </ac:spMkLst>
        </pc:spChg>
        <pc:spChg chg="add del mod">
          <ac:chgData name="Liu, Timothy" userId="S::chl570@pitt.edu::e71bb192-b359-4eae-a81d-4582e30b7736" providerId="AD" clId="Web-{54667268-3C32-1CAC-ED4B-1731CC33B7AA}" dt="2025-04-20T04:04:06.545" v="143"/>
          <ac:spMkLst>
            <pc:docMk/>
            <pc:sldMk cId="3958798967" sldId="2147473333"/>
            <ac:spMk id="6" creationId="{ADD72D62-D389-F74F-00BD-197E7C3E93E7}"/>
          </ac:spMkLst>
        </pc:spChg>
        <pc:spChg chg="del mod">
          <ac:chgData name="Liu, Timothy" userId="S::chl570@pitt.edu::e71bb192-b359-4eae-a81d-4582e30b7736" providerId="AD" clId="Web-{54667268-3C32-1CAC-ED4B-1731CC33B7AA}" dt="2025-04-20T04:04:07.061" v="144"/>
          <ac:spMkLst>
            <pc:docMk/>
            <pc:sldMk cId="3958798967" sldId="2147473333"/>
            <ac:spMk id="7" creationId="{C4291776-5AC7-1AE3-DEDC-FD00543AAE39}"/>
          </ac:spMkLst>
        </pc:spChg>
        <pc:spChg chg="add del mod">
          <ac:chgData name="Liu, Timothy" userId="S::chl570@pitt.edu::e71bb192-b359-4eae-a81d-4582e30b7736" providerId="AD" clId="Web-{54667268-3C32-1CAC-ED4B-1731CC33B7AA}" dt="2025-04-20T04:04:09.686" v="147"/>
          <ac:spMkLst>
            <pc:docMk/>
            <pc:sldMk cId="3958798967" sldId="2147473333"/>
            <ac:spMk id="8" creationId="{359A198A-9559-9398-EBB5-4A17423D0AAA}"/>
          </ac:spMkLst>
        </pc:spChg>
        <pc:spChg chg="add del mod">
          <ac:chgData name="Liu, Timothy" userId="S::chl570@pitt.edu::e71bb192-b359-4eae-a81d-4582e30b7736" providerId="AD" clId="Web-{54667268-3C32-1CAC-ED4B-1731CC33B7AA}" dt="2025-04-20T04:04:08.686" v="146"/>
          <ac:spMkLst>
            <pc:docMk/>
            <pc:sldMk cId="3958798967" sldId="2147473333"/>
            <ac:spMk id="9" creationId="{14B3689A-990A-3B76-4EFA-A36196D457F7}"/>
          </ac:spMkLst>
        </pc:spChg>
        <pc:spChg chg="add del mod">
          <ac:chgData name="Liu, Timothy" userId="S::chl570@pitt.edu::e71bb192-b359-4eae-a81d-4582e30b7736" providerId="AD" clId="Web-{54667268-3C32-1CAC-ED4B-1731CC33B7AA}" dt="2025-04-20T04:04:12.483" v="150"/>
          <ac:spMkLst>
            <pc:docMk/>
            <pc:sldMk cId="3958798967" sldId="2147473333"/>
            <ac:spMk id="10" creationId="{718D8A7D-3A28-2DE0-B09A-086E2FC76DBA}"/>
          </ac:spMkLst>
        </pc:spChg>
        <pc:spChg chg="add del mod">
          <ac:chgData name="Liu, Timothy" userId="S::chl570@pitt.edu::e71bb192-b359-4eae-a81d-4582e30b7736" providerId="AD" clId="Web-{54667268-3C32-1CAC-ED4B-1731CC33B7AA}" dt="2025-04-20T04:04:10.686" v="148"/>
          <ac:spMkLst>
            <pc:docMk/>
            <pc:sldMk cId="3958798967" sldId="2147473333"/>
            <ac:spMk id="11" creationId="{57D03491-3E22-6A29-E32A-589DAAD9AC3D}"/>
          </ac:spMkLst>
        </pc:spChg>
        <pc:spChg chg="del mod">
          <ac:chgData name="Liu, Timothy" userId="S::chl570@pitt.edu::e71bb192-b359-4eae-a81d-4582e30b7736" providerId="AD" clId="Web-{54667268-3C32-1CAC-ED4B-1731CC33B7AA}" dt="2025-04-20T04:04:08.233" v="145"/>
          <ac:spMkLst>
            <pc:docMk/>
            <pc:sldMk cId="3958798967" sldId="2147473333"/>
            <ac:spMk id="13" creationId="{6A564F5D-907E-DAD1-28FF-4B442EE0B111}"/>
          </ac:spMkLst>
        </pc:spChg>
        <pc:spChg chg="add del mod">
          <ac:chgData name="Liu, Timothy" userId="S::chl570@pitt.edu::e71bb192-b359-4eae-a81d-4582e30b7736" providerId="AD" clId="Web-{54667268-3C32-1CAC-ED4B-1731CC33B7AA}" dt="2025-04-20T04:04:12.389" v="149"/>
          <ac:spMkLst>
            <pc:docMk/>
            <pc:sldMk cId="3958798967" sldId="2147473333"/>
            <ac:spMk id="14" creationId="{F5035EFC-3F74-3EAB-DFC5-F1D7E1017D96}"/>
          </ac:spMkLst>
        </pc:spChg>
        <pc:spChg chg="add del mod">
          <ac:chgData name="Liu, Timothy" userId="S::chl570@pitt.edu::e71bb192-b359-4eae-a81d-4582e30b7736" providerId="AD" clId="Web-{54667268-3C32-1CAC-ED4B-1731CC33B7AA}" dt="2025-04-20T04:00:03.469" v="137"/>
          <ac:spMkLst>
            <pc:docMk/>
            <pc:sldMk cId="3958798967" sldId="2147473333"/>
            <ac:spMk id="15" creationId="{65B56D55-29D6-40E3-8F77-D39A83C101F1}"/>
          </ac:spMkLst>
        </pc:spChg>
        <pc:spChg chg="mod">
          <ac:chgData name="Liu, Timothy" userId="S::chl570@pitt.edu::e71bb192-b359-4eae-a81d-4582e30b7736" providerId="AD" clId="Web-{54667268-3C32-1CAC-ED4B-1731CC33B7AA}" dt="2025-04-20T04:04:03.311" v="140" actId="20577"/>
          <ac:spMkLst>
            <pc:docMk/>
            <pc:sldMk cId="3958798967" sldId="2147473333"/>
            <ac:spMk id="16" creationId="{FB59FDB2-3726-6E3E-B722-220B4DFF7508}"/>
          </ac:spMkLst>
        </pc:spChg>
        <pc:spChg chg="add">
          <ac:chgData name="Liu, Timothy" userId="S::chl570@pitt.edu::e71bb192-b359-4eae-a81d-4582e30b7736" providerId="AD" clId="Web-{54667268-3C32-1CAC-ED4B-1731CC33B7AA}" dt="2025-04-20T03:59:41.421" v="126"/>
          <ac:spMkLst>
            <pc:docMk/>
            <pc:sldMk cId="3958798967" sldId="2147473333"/>
            <ac:spMk id="19" creationId="{6330F774-51D8-CC06-5417-CD1BA07DB0DA}"/>
          </ac:spMkLst>
        </pc:spChg>
        <pc:spChg chg="add">
          <ac:chgData name="Liu, Timothy" userId="S::chl570@pitt.edu::e71bb192-b359-4eae-a81d-4582e30b7736" providerId="AD" clId="Web-{54667268-3C32-1CAC-ED4B-1731CC33B7AA}" dt="2025-04-20T03:59:41.421" v="126"/>
          <ac:spMkLst>
            <pc:docMk/>
            <pc:sldMk cId="3958798967" sldId="2147473333"/>
            <ac:spMk id="27" creationId="{0717C17D-7490-331F-0BDC-7BD6815C827F}"/>
          </ac:spMkLst>
        </pc:spChg>
        <pc:spChg chg="add">
          <ac:chgData name="Liu, Timothy" userId="S::chl570@pitt.edu::e71bb192-b359-4eae-a81d-4582e30b7736" providerId="AD" clId="Web-{54667268-3C32-1CAC-ED4B-1731CC33B7AA}" dt="2025-04-20T03:59:41.421" v="126"/>
          <ac:spMkLst>
            <pc:docMk/>
            <pc:sldMk cId="3958798967" sldId="2147473333"/>
            <ac:spMk id="28" creationId="{D7ACA504-0CF0-B838-8B2F-8A269712278E}"/>
          </ac:spMkLst>
        </pc:spChg>
        <pc:spChg chg="add del mod">
          <ac:chgData name="Liu, Timothy" userId="S::chl570@pitt.edu::e71bb192-b359-4eae-a81d-4582e30b7736" providerId="AD" clId="Web-{54667268-3C32-1CAC-ED4B-1731CC33B7AA}" dt="2025-04-20T04:21:10.791" v="264"/>
          <ac:spMkLst>
            <pc:docMk/>
            <pc:sldMk cId="3958798967" sldId="2147473333"/>
            <ac:spMk id="594" creationId="{1D0DFBC2-FFD4-D340-1865-D1B6CA910D9C}"/>
          </ac:spMkLst>
        </pc:spChg>
        <pc:spChg chg="add del mod">
          <ac:chgData name="Liu, Timothy" userId="S::chl570@pitt.edu::e71bb192-b359-4eae-a81d-4582e30b7736" providerId="AD" clId="Web-{54667268-3C32-1CAC-ED4B-1731CC33B7AA}" dt="2025-04-20T04:21:09.384" v="263"/>
          <ac:spMkLst>
            <pc:docMk/>
            <pc:sldMk cId="3958798967" sldId="2147473333"/>
            <ac:spMk id="618" creationId="{C593D357-7F17-48AF-C5E4-4BF78FD348D5}"/>
          </ac:spMkLst>
        </pc:spChg>
        <pc:spChg chg="add del mod">
          <ac:chgData name="Liu, Timothy" userId="S::chl570@pitt.edu::e71bb192-b359-4eae-a81d-4582e30b7736" providerId="AD" clId="Web-{54667268-3C32-1CAC-ED4B-1731CC33B7AA}" dt="2025-04-20T04:21:12.494" v="265"/>
          <ac:spMkLst>
            <pc:docMk/>
            <pc:sldMk cId="3958798967" sldId="2147473333"/>
            <ac:spMk id="619" creationId="{7EB56C07-BC1B-C2BE-ADB9-2BB7AF689FD8}"/>
          </ac:spMkLst>
        </pc:spChg>
        <pc:spChg chg="add mod">
          <ac:chgData name="Liu, Timothy" userId="S::chl570@pitt.edu::e71bb192-b359-4eae-a81d-4582e30b7736" providerId="AD" clId="Web-{54667268-3C32-1CAC-ED4B-1731CC33B7AA}" dt="2025-04-20T16:27:23.497" v="621" actId="20577"/>
          <ac:spMkLst>
            <pc:docMk/>
            <pc:sldMk cId="3958798967" sldId="2147473333"/>
            <ac:spMk id="756" creationId="{542DECFF-C9F9-C76A-EA87-414ACE902E07}"/>
          </ac:spMkLst>
        </pc:spChg>
        <pc:grpChg chg="del mod">
          <ac:chgData name="Liu, Timothy" userId="S::chl570@pitt.edu::e71bb192-b359-4eae-a81d-4582e30b7736" providerId="AD" clId="Web-{54667268-3C32-1CAC-ED4B-1731CC33B7AA}" dt="2025-04-20T04:04:04.998" v="141"/>
          <ac:grpSpMkLst>
            <pc:docMk/>
            <pc:sldMk cId="3958798967" sldId="2147473333"/>
            <ac:grpSpMk id="4" creationId="{C3EA7D3E-47C1-8606-CADB-1CE01748D523}"/>
          </ac:grpSpMkLst>
        </pc:grpChg>
        <pc:graphicFrameChg chg="del">
          <ac:chgData name="Liu, Timothy" userId="S::chl570@pitt.edu::e71bb192-b359-4eae-a81d-4582e30b7736" providerId="AD" clId="Web-{54667268-3C32-1CAC-ED4B-1731CC33B7AA}" dt="2025-04-20T03:58:46.855" v="125"/>
          <ac:graphicFrameMkLst>
            <pc:docMk/>
            <pc:sldMk cId="3958798967" sldId="2147473333"/>
            <ac:graphicFrameMk id="3" creationId="{20305747-3252-3558-39B4-34E892DC7E0A}"/>
          </ac:graphicFrameMkLst>
        </pc:graphicFrameChg>
        <pc:graphicFrameChg chg="add del mod modGraphic">
          <ac:chgData name="Liu, Timothy" userId="S::chl570@pitt.edu::e71bb192-b359-4eae-a81d-4582e30b7736" providerId="AD" clId="Web-{54667268-3C32-1CAC-ED4B-1731CC33B7AA}" dt="2025-04-20T04:08:34.331" v="155"/>
          <ac:graphicFrameMkLst>
            <pc:docMk/>
            <pc:sldMk cId="3958798967" sldId="2147473333"/>
            <ac:graphicFrameMk id="37" creationId="{04824A58-0ABE-F011-0D4C-3547976A9ECD}"/>
          </ac:graphicFrameMkLst>
        </pc:graphicFrameChg>
        <pc:graphicFrameChg chg="add del mod modGraphic">
          <ac:chgData name="Liu, Timothy" userId="S::chl570@pitt.edu::e71bb192-b359-4eae-a81d-4582e30b7736" providerId="AD" clId="Web-{54667268-3C32-1CAC-ED4B-1731CC33B7AA}" dt="2025-04-20T04:08:27.581" v="154"/>
          <ac:graphicFrameMkLst>
            <pc:docMk/>
            <pc:sldMk cId="3958798967" sldId="2147473333"/>
            <ac:graphicFrameMk id="46" creationId="{31540190-65F7-C8CD-6F0D-448246C9EBEE}"/>
          </ac:graphicFrameMkLst>
        </pc:graphicFrameChg>
        <pc:graphicFrameChg chg="add del mod modGraphic">
          <ac:chgData name="Liu, Timothy" userId="S::chl570@pitt.edu::e71bb192-b359-4eae-a81d-4582e30b7736" providerId="AD" clId="Web-{54667268-3C32-1CAC-ED4B-1731CC33B7AA}" dt="2025-04-20T04:08:52.551" v="157"/>
          <ac:graphicFrameMkLst>
            <pc:docMk/>
            <pc:sldMk cId="3958798967" sldId="2147473333"/>
            <ac:graphicFrameMk id="61" creationId="{8DBE13EA-648E-AB8F-21CC-AE09F94FF976}"/>
          </ac:graphicFrameMkLst>
        </pc:graphicFrameChg>
        <pc:graphicFrameChg chg="add del mod modGraphic">
          <ac:chgData name="Liu, Timothy" userId="S::chl570@pitt.edu::e71bb192-b359-4eae-a81d-4582e30b7736" providerId="AD" clId="Web-{54667268-3C32-1CAC-ED4B-1731CC33B7AA}" dt="2025-04-20T04:09:24.850" v="159"/>
          <ac:graphicFrameMkLst>
            <pc:docMk/>
            <pc:sldMk cId="3958798967" sldId="2147473333"/>
            <ac:graphicFrameMk id="72" creationId="{A5EEDA2A-117A-C0E3-05CC-1E62329F6CA9}"/>
          </ac:graphicFrameMkLst>
        </pc:graphicFrameChg>
        <pc:graphicFrameChg chg="add del mod modGraphic">
          <ac:chgData name="Liu, Timothy" userId="S::chl570@pitt.edu::e71bb192-b359-4eae-a81d-4582e30b7736" providerId="AD" clId="Web-{54667268-3C32-1CAC-ED4B-1731CC33B7AA}" dt="2025-04-20T04:10:05.852" v="163"/>
          <ac:graphicFrameMkLst>
            <pc:docMk/>
            <pc:sldMk cId="3958798967" sldId="2147473333"/>
            <ac:graphicFrameMk id="83" creationId="{0C2D7B05-BA9A-F275-C4B4-167B11E5BE8B}"/>
          </ac:graphicFrameMkLst>
        </pc:graphicFrameChg>
        <pc:graphicFrameChg chg="add del mod modGraphic">
          <ac:chgData name="Liu, Timothy" userId="S::chl570@pitt.edu::e71bb192-b359-4eae-a81d-4582e30b7736" providerId="AD" clId="Web-{54667268-3C32-1CAC-ED4B-1731CC33B7AA}" dt="2025-04-20T04:12:00.358" v="188"/>
          <ac:graphicFrameMkLst>
            <pc:docMk/>
            <pc:sldMk cId="3958798967" sldId="2147473333"/>
            <ac:graphicFrameMk id="88" creationId="{5AFB11AD-99AE-8B7D-4687-C8978C3ADE47}"/>
          </ac:graphicFrameMkLst>
        </pc:graphicFrameChg>
        <pc:graphicFrameChg chg="add del mod modGraphic">
          <ac:chgData name="Liu, Timothy" userId="S::chl570@pitt.edu::e71bb192-b359-4eae-a81d-4582e30b7736" providerId="AD" clId="Web-{54667268-3C32-1CAC-ED4B-1731CC33B7AA}" dt="2025-04-20T04:12:20.703" v="190"/>
          <ac:graphicFrameMkLst>
            <pc:docMk/>
            <pc:sldMk cId="3958798967" sldId="2147473333"/>
            <ac:graphicFrameMk id="452" creationId="{39BC2790-B219-9056-C53C-ED4A85A4F9FF}"/>
          </ac:graphicFrameMkLst>
        </pc:graphicFrameChg>
        <pc:graphicFrameChg chg="add del mod modGraphic">
          <ac:chgData name="Liu, Timothy" userId="S::chl570@pitt.edu::e71bb192-b359-4eae-a81d-4582e30b7736" providerId="AD" clId="Web-{54667268-3C32-1CAC-ED4B-1731CC33B7AA}" dt="2025-04-20T04:21:20.947" v="266"/>
          <ac:graphicFrameMkLst>
            <pc:docMk/>
            <pc:sldMk cId="3958798967" sldId="2147473333"/>
            <ac:graphicFrameMk id="462" creationId="{A44DBDE3-5E41-263F-C469-D5A6622A4C07}"/>
          </ac:graphicFrameMkLst>
        </pc:graphicFrameChg>
        <pc:graphicFrameChg chg="add del mod modGraphic">
          <ac:chgData name="Liu, Timothy" userId="S::chl570@pitt.edu::e71bb192-b359-4eae-a81d-4582e30b7736" providerId="AD" clId="Web-{54667268-3C32-1CAC-ED4B-1731CC33B7AA}" dt="2025-04-20T04:17:27.510" v="238"/>
          <ac:graphicFrameMkLst>
            <pc:docMk/>
            <pc:sldMk cId="3958798967" sldId="2147473333"/>
            <ac:graphicFrameMk id="595" creationId="{4D8EA54E-E6BF-34A6-EB03-8049F76BD08E}"/>
          </ac:graphicFrameMkLst>
        </pc:graphicFrameChg>
        <pc:graphicFrameChg chg="add mod modGraphic">
          <ac:chgData name="Liu, Timothy" userId="S::chl570@pitt.edu::e71bb192-b359-4eae-a81d-4582e30b7736" providerId="AD" clId="Web-{54667268-3C32-1CAC-ED4B-1731CC33B7AA}" dt="2025-04-20T16:18:46.572" v="567" actId="1076"/>
          <ac:graphicFrameMkLst>
            <pc:docMk/>
            <pc:sldMk cId="3958798967" sldId="2147473333"/>
            <ac:graphicFrameMk id="620" creationId="{D48FE9C9-4161-81DB-E106-D46E563527E0}"/>
          </ac:graphicFrameMkLst>
        </pc:graphicFrameChg>
      </pc:sldChg>
      <pc:sldChg chg="addSp delSp modSp add replId">
        <pc:chgData name="Liu, Timothy" userId="S::chl570@pitt.edu::e71bb192-b359-4eae-a81d-4582e30b7736" providerId="AD" clId="Web-{54667268-3C32-1CAC-ED4B-1731CC33B7AA}" dt="2025-04-20T16:32:35.368" v="631" actId="1076"/>
        <pc:sldMkLst>
          <pc:docMk/>
          <pc:sldMk cId="1350242171" sldId="2147473334"/>
        </pc:sldMkLst>
        <pc:picChg chg="del">
          <ac:chgData name="Liu, Timothy" userId="S::chl570@pitt.edu::e71bb192-b359-4eae-a81d-4582e30b7736" providerId="AD" clId="Web-{54667268-3C32-1CAC-ED4B-1731CC33B7AA}" dt="2025-04-20T16:32:13.335" v="628"/>
          <ac:picMkLst>
            <pc:docMk/>
            <pc:sldMk cId="1350242171" sldId="2147473334"/>
            <ac:picMk id="3" creationId="{7363A2CC-CFE4-9729-75C0-95C91D051BD7}"/>
          </ac:picMkLst>
        </pc:picChg>
        <pc:picChg chg="add mod">
          <ac:chgData name="Liu, Timothy" userId="S::chl570@pitt.edu::e71bb192-b359-4eae-a81d-4582e30b7736" providerId="AD" clId="Web-{54667268-3C32-1CAC-ED4B-1731CC33B7AA}" dt="2025-04-20T16:32:35.368" v="631" actId="1076"/>
          <ac:picMkLst>
            <pc:docMk/>
            <pc:sldMk cId="1350242171" sldId="2147473334"/>
            <ac:picMk id="4" creationId="{B4FEBD76-DEFF-D4AE-49F1-D64BE869A086}"/>
          </ac:picMkLst>
        </pc:picChg>
      </pc:sldChg>
      <pc:sldChg chg="addSp delSp modSp add replId">
        <pc:chgData name="Liu, Timothy" userId="S::chl570@pitt.edu::e71bb192-b359-4eae-a81d-4582e30b7736" providerId="AD" clId="Web-{54667268-3C32-1CAC-ED4B-1731CC33B7AA}" dt="2025-04-20T16:33:01.447" v="636" actId="1076"/>
        <pc:sldMkLst>
          <pc:docMk/>
          <pc:sldMk cId="4243968148" sldId="2147473335"/>
        </pc:sldMkLst>
        <pc:picChg chg="add mod">
          <ac:chgData name="Liu, Timothy" userId="S::chl570@pitt.edu::e71bb192-b359-4eae-a81d-4582e30b7736" providerId="AD" clId="Web-{54667268-3C32-1CAC-ED4B-1731CC33B7AA}" dt="2025-04-20T16:33:01.447" v="636" actId="1076"/>
          <ac:picMkLst>
            <pc:docMk/>
            <pc:sldMk cId="4243968148" sldId="2147473335"/>
            <ac:picMk id="3" creationId="{2F29BAD1-1BD9-465C-1AD5-97DC40F64A06}"/>
          </ac:picMkLst>
        </pc:picChg>
        <pc:picChg chg="del">
          <ac:chgData name="Liu, Timothy" userId="S::chl570@pitt.edu::e71bb192-b359-4eae-a81d-4582e30b7736" providerId="AD" clId="Web-{54667268-3C32-1CAC-ED4B-1731CC33B7AA}" dt="2025-04-20T16:32:54.212" v="633"/>
          <ac:picMkLst>
            <pc:docMk/>
            <pc:sldMk cId="4243968148" sldId="2147473335"/>
            <ac:picMk id="4" creationId="{EC64C155-ACA5-0621-BDBF-0479718DEC33}"/>
          </ac:picMkLst>
        </pc:picChg>
      </pc:sldChg>
      <pc:sldChg chg="addSp delSp modSp add replId">
        <pc:chgData name="Liu, Timothy" userId="S::chl570@pitt.edu::e71bb192-b359-4eae-a81d-4582e30b7736" providerId="AD" clId="Web-{54667268-3C32-1CAC-ED4B-1731CC33B7AA}" dt="2025-04-20T16:33:40.714" v="645" actId="1076"/>
        <pc:sldMkLst>
          <pc:docMk/>
          <pc:sldMk cId="1196946110" sldId="2147473336"/>
        </pc:sldMkLst>
        <pc:picChg chg="del">
          <ac:chgData name="Liu, Timothy" userId="S::chl570@pitt.edu::e71bb192-b359-4eae-a81d-4582e30b7736" providerId="AD" clId="Web-{54667268-3C32-1CAC-ED4B-1731CC33B7AA}" dt="2025-04-20T16:33:22.963" v="638"/>
          <ac:picMkLst>
            <pc:docMk/>
            <pc:sldMk cId="1196946110" sldId="2147473336"/>
            <ac:picMk id="3" creationId="{BD1E13C6-DF02-2D61-74EF-51CA1B42809F}"/>
          </ac:picMkLst>
        </pc:picChg>
        <pc:picChg chg="add mod">
          <ac:chgData name="Liu, Timothy" userId="S::chl570@pitt.edu::e71bb192-b359-4eae-a81d-4582e30b7736" providerId="AD" clId="Web-{54667268-3C32-1CAC-ED4B-1731CC33B7AA}" dt="2025-04-20T16:33:40.714" v="645" actId="1076"/>
          <ac:picMkLst>
            <pc:docMk/>
            <pc:sldMk cId="1196946110" sldId="2147473336"/>
            <ac:picMk id="4" creationId="{FD746233-9FBB-DE85-7D67-260BE940CDCF}"/>
          </ac:picMkLst>
        </pc:picChg>
      </pc:sldChg>
    </pc:docChg>
  </pc:docChgLst>
  <pc:docChgLst>
    <pc:chgData name="Liu, Timothy" userId="S::chl570@pitt.edu::e71bb192-b359-4eae-a81d-4582e30b7736" providerId="AD" clId="Web-{2B62D422-F2EE-429B-8C28-861467FABE93}"/>
    <pc:docChg chg="modSld">
      <pc:chgData name="Liu, Timothy" userId="S::chl570@pitt.edu::e71bb192-b359-4eae-a81d-4582e30b7736" providerId="AD" clId="Web-{2B62D422-F2EE-429B-8C28-861467FABE93}" dt="2025-04-20T23:24:39.181" v="1" actId="20577"/>
      <pc:docMkLst>
        <pc:docMk/>
      </pc:docMkLst>
      <pc:sldChg chg="modSp">
        <pc:chgData name="Liu, Timothy" userId="S::chl570@pitt.edu::e71bb192-b359-4eae-a81d-4582e30b7736" providerId="AD" clId="Web-{2B62D422-F2EE-429B-8C28-861467FABE93}" dt="2025-04-20T23:24:39.181" v="1" actId="20577"/>
        <pc:sldMkLst>
          <pc:docMk/>
          <pc:sldMk cId="356252971" sldId="2147473330"/>
        </pc:sldMkLst>
        <pc:spChg chg="mod">
          <ac:chgData name="Liu, Timothy" userId="S::chl570@pitt.edu::e71bb192-b359-4eae-a81d-4582e30b7736" providerId="AD" clId="Web-{2B62D422-F2EE-429B-8C28-861467FABE93}" dt="2025-04-20T23:24:39.181" v="1" actId="20577"/>
          <ac:spMkLst>
            <pc:docMk/>
            <pc:sldMk cId="356252971" sldId="2147473330"/>
            <ac:spMk id="3" creationId="{64494497-0C8A-C159-B516-E28D8DE57A4A}"/>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246440-D822-4629-88D1-5E39A247FEB4}" type="doc">
      <dgm:prSet loTypeId="urn:microsoft.com/office/officeart/2005/8/layout/process1" loCatId="process" qsTypeId="urn:microsoft.com/office/officeart/2005/8/quickstyle/simple1" qsCatId="simple" csTypeId="urn:microsoft.com/office/officeart/2005/8/colors/accent1_2" csCatId="accent1" phldr="1"/>
      <dgm:spPr/>
    </dgm:pt>
    <dgm:pt modelId="{32FE9A26-B7EB-4FC3-BE9C-F4BABAC7F85F}">
      <dgm:prSet phldrT="[Text]" phldr="0"/>
      <dgm:spPr/>
      <dgm:t>
        <a:bodyPr/>
        <a:lstStyle/>
        <a:p>
          <a:pPr rtl="0"/>
          <a:r>
            <a:rPr lang="en-US"/>
            <a:t>Nuclear Capacity Roadmap</a:t>
          </a:r>
        </a:p>
      </dgm:t>
    </dgm:pt>
    <dgm:pt modelId="{1184397C-43F9-447D-8A43-EEE5B1759AD1}" type="parTrans" cxnId="{4E1514F5-89B4-4C95-925F-3A82C15D5D71}">
      <dgm:prSet/>
      <dgm:spPr/>
    </dgm:pt>
    <dgm:pt modelId="{C833AF0C-09C0-43FB-B642-700C8B1DCB92}" type="sibTrans" cxnId="{4E1514F5-89B4-4C95-925F-3A82C15D5D71}">
      <dgm:prSet/>
      <dgm:spPr/>
      <dgm:t>
        <a:bodyPr/>
        <a:lstStyle/>
        <a:p>
          <a:endParaRPr lang="en-US"/>
        </a:p>
      </dgm:t>
    </dgm:pt>
    <dgm:pt modelId="{65A49C8C-ECDA-4EAE-8FEE-456CD8B0FD6B}">
      <dgm:prSet phldrT="[Text]" phldr="0"/>
      <dgm:spPr/>
      <dgm:t>
        <a:bodyPr/>
        <a:lstStyle/>
        <a:p>
          <a:pPr rtl="0"/>
          <a:r>
            <a:rPr lang="en-US"/>
            <a:t>Expanded ESG Scorecard</a:t>
          </a:r>
        </a:p>
      </dgm:t>
    </dgm:pt>
    <dgm:pt modelId="{1A70555B-436E-49C3-800D-962A0AFE41E7}" type="parTrans" cxnId="{FD12E896-E365-4369-86FD-591FA09B4FB2}">
      <dgm:prSet/>
      <dgm:spPr/>
    </dgm:pt>
    <dgm:pt modelId="{CC681FC2-7E01-4230-8D6F-0FAEE81D14B4}" type="sibTrans" cxnId="{FD12E896-E365-4369-86FD-591FA09B4FB2}">
      <dgm:prSet/>
      <dgm:spPr/>
      <dgm:t>
        <a:bodyPr/>
        <a:lstStyle/>
        <a:p>
          <a:endParaRPr lang="en-US"/>
        </a:p>
      </dgm:t>
    </dgm:pt>
    <dgm:pt modelId="{2403E53A-44FE-499E-854D-3ED3849B33DC}">
      <dgm:prSet phldr="0"/>
      <dgm:spPr/>
      <dgm:t>
        <a:bodyPr/>
        <a:lstStyle/>
        <a:p>
          <a:pPr rtl="0"/>
          <a:r>
            <a:rPr lang="en-US"/>
            <a:t>Clean‑Firm Pilot Programs</a:t>
          </a:r>
          <a:endParaRPr lang="en-US">
            <a:latin typeface="Aptos Display" panose="020F0302020204030204"/>
          </a:endParaRPr>
        </a:p>
      </dgm:t>
    </dgm:pt>
    <dgm:pt modelId="{EA6BA905-2A0E-43D0-8EF9-9560ACDA79A9}" type="parTrans" cxnId="{914710A7-7E9D-4D6E-B2E9-309CE65C762A}">
      <dgm:prSet/>
      <dgm:spPr/>
    </dgm:pt>
    <dgm:pt modelId="{E199042B-04C3-4F89-B4DA-44B143CFC849}" type="sibTrans" cxnId="{914710A7-7E9D-4D6E-B2E9-309CE65C762A}">
      <dgm:prSet/>
      <dgm:spPr/>
      <dgm:t>
        <a:bodyPr/>
        <a:lstStyle/>
        <a:p>
          <a:endParaRPr lang="en-US"/>
        </a:p>
      </dgm:t>
    </dgm:pt>
    <dgm:pt modelId="{1E75016E-7D31-46E2-90C2-22D2C9D20DED}">
      <dgm:prSet phldr="0"/>
      <dgm:spPr/>
      <dgm:t>
        <a:bodyPr/>
        <a:lstStyle/>
        <a:p>
          <a:pPr rtl="0"/>
          <a:r>
            <a:rPr lang="en-US"/>
            <a:t>Tool Roll‑out</a:t>
          </a:r>
          <a:endParaRPr lang="en-US">
            <a:latin typeface="Aptos Display" panose="020F0302020204030204"/>
          </a:endParaRPr>
        </a:p>
      </dgm:t>
    </dgm:pt>
    <dgm:pt modelId="{7C4DB989-7335-42A8-8151-6575DAC4D275}" type="parTrans" cxnId="{0EB3586F-FAF7-4BF3-9144-888A0DE2BEAA}">
      <dgm:prSet/>
      <dgm:spPr/>
    </dgm:pt>
    <dgm:pt modelId="{9008D624-9AE8-48DA-BF26-0678BD4D6DD2}" type="sibTrans" cxnId="{0EB3586F-FAF7-4BF3-9144-888A0DE2BEAA}">
      <dgm:prSet/>
      <dgm:spPr/>
    </dgm:pt>
    <dgm:pt modelId="{353C7D02-8BBB-49F0-9CD3-DEC3BBFCDF93}">
      <dgm:prSet phldr="0"/>
      <dgm:spPr/>
      <dgm:t>
        <a:bodyPr/>
        <a:lstStyle/>
        <a:p>
          <a:r>
            <a:rPr lang="en-US" b="0"/>
            <a:t>Policy Analysis → CO₂ Cap Adjustment</a:t>
          </a:r>
          <a:endParaRPr lang="en-US"/>
        </a:p>
      </dgm:t>
    </dgm:pt>
    <dgm:pt modelId="{B397FD12-8AD1-4D83-821C-3942C22D0EE7}" type="parTrans" cxnId="{E0F0E628-FDDB-4391-A237-0E4D567F30BA}">
      <dgm:prSet/>
      <dgm:spPr/>
    </dgm:pt>
    <dgm:pt modelId="{39537655-AAE1-44C0-B5A6-1209B63CD78A}" type="sibTrans" cxnId="{E0F0E628-FDDB-4391-A237-0E4D567F30BA}">
      <dgm:prSet/>
      <dgm:spPr/>
      <dgm:t>
        <a:bodyPr/>
        <a:lstStyle/>
        <a:p>
          <a:endParaRPr lang="en-US"/>
        </a:p>
      </dgm:t>
    </dgm:pt>
    <dgm:pt modelId="{4473BDBB-D4E7-4EA1-9C1D-BF81E9469344}" type="pres">
      <dgm:prSet presAssocID="{19246440-D822-4629-88D1-5E39A247FEB4}" presName="Name0" presStyleCnt="0">
        <dgm:presLayoutVars>
          <dgm:dir/>
          <dgm:resizeHandles val="exact"/>
        </dgm:presLayoutVars>
      </dgm:prSet>
      <dgm:spPr/>
    </dgm:pt>
    <dgm:pt modelId="{FC0E79CA-22DB-4B01-AD11-99F17A2A9EBC}" type="pres">
      <dgm:prSet presAssocID="{353C7D02-8BBB-49F0-9CD3-DEC3BBFCDF93}" presName="node" presStyleLbl="node1" presStyleIdx="0" presStyleCnt="5">
        <dgm:presLayoutVars>
          <dgm:bulletEnabled val="1"/>
        </dgm:presLayoutVars>
      </dgm:prSet>
      <dgm:spPr/>
    </dgm:pt>
    <dgm:pt modelId="{A20EB258-9BF6-42CE-AD68-C62EE78C79EA}" type="pres">
      <dgm:prSet presAssocID="{39537655-AAE1-44C0-B5A6-1209B63CD78A}" presName="sibTrans" presStyleLbl="sibTrans2D1" presStyleIdx="0" presStyleCnt="4"/>
      <dgm:spPr/>
    </dgm:pt>
    <dgm:pt modelId="{4490565F-96A3-4AA0-8D45-C7B1D0003B33}" type="pres">
      <dgm:prSet presAssocID="{39537655-AAE1-44C0-B5A6-1209B63CD78A}" presName="connectorText" presStyleLbl="sibTrans2D1" presStyleIdx="0" presStyleCnt="4"/>
      <dgm:spPr/>
    </dgm:pt>
    <dgm:pt modelId="{441D1405-3787-42B2-9EDC-2C3021C8B551}" type="pres">
      <dgm:prSet presAssocID="{32FE9A26-B7EB-4FC3-BE9C-F4BABAC7F85F}" presName="node" presStyleLbl="node1" presStyleIdx="1" presStyleCnt="5">
        <dgm:presLayoutVars>
          <dgm:bulletEnabled val="1"/>
        </dgm:presLayoutVars>
      </dgm:prSet>
      <dgm:spPr/>
    </dgm:pt>
    <dgm:pt modelId="{8609D287-767E-412E-BBE1-3F2E0B6909B9}" type="pres">
      <dgm:prSet presAssocID="{C833AF0C-09C0-43FB-B642-700C8B1DCB92}" presName="sibTrans" presStyleLbl="sibTrans2D1" presStyleIdx="1" presStyleCnt="4"/>
      <dgm:spPr/>
    </dgm:pt>
    <dgm:pt modelId="{036ABFBE-6583-418F-A0C4-4DC609DE4932}" type="pres">
      <dgm:prSet presAssocID="{C833AF0C-09C0-43FB-B642-700C8B1DCB92}" presName="connectorText" presStyleLbl="sibTrans2D1" presStyleIdx="1" presStyleCnt="4"/>
      <dgm:spPr/>
    </dgm:pt>
    <dgm:pt modelId="{7A8FADFD-6CD7-4C67-9A3B-7B51E4E8BAC9}" type="pres">
      <dgm:prSet presAssocID="{65A49C8C-ECDA-4EAE-8FEE-456CD8B0FD6B}" presName="node" presStyleLbl="node1" presStyleIdx="2" presStyleCnt="5">
        <dgm:presLayoutVars>
          <dgm:bulletEnabled val="1"/>
        </dgm:presLayoutVars>
      </dgm:prSet>
      <dgm:spPr/>
    </dgm:pt>
    <dgm:pt modelId="{458AE0EC-0EF2-4974-B558-D1D68013D563}" type="pres">
      <dgm:prSet presAssocID="{CC681FC2-7E01-4230-8D6F-0FAEE81D14B4}" presName="sibTrans" presStyleLbl="sibTrans2D1" presStyleIdx="2" presStyleCnt="4"/>
      <dgm:spPr/>
    </dgm:pt>
    <dgm:pt modelId="{C67095A7-D8C0-4738-8E17-744AA5B77DE2}" type="pres">
      <dgm:prSet presAssocID="{CC681FC2-7E01-4230-8D6F-0FAEE81D14B4}" presName="connectorText" presStyleLbl="sibTrans2D1" presStyleIdx="2" presStyleCnt="4"/>
      <dgm:spPr/>
    </dgm:pt>
    <dgm:pt modelId="{57379ABD-00C6-499A-A2C9-F0B823BD08E5}" type="pres">
      <dgm:prSet presAssocID="{2403E53A-44FE-499E-854D-3ED3849B33DC}" presName="node" presStyleLbl="node1" presStyleIdx="3" presStyleCnt="5">
        <dgm:presLayoutVars>
          <dgm:bulletEnabled val="1"/>
        </dgm:presLayoutVars>
      </dgm:prSet>
      <dgm:spPr/>
    </dgm:pt>
    <dgm:pt modelId="{40A77936-ACA6-47B0-ADA5-35046B9D4968}" type="pres">
      <dgm:prSet presAssocID="{E199042B-04C3-4F89-B4DA-44B143CFC849}" presName="sibTrans" presStyleLbl="sibTrans2D1" presStyleIdx="3" presStyleCnt="4"/>
      <dgm:spPr/>
    </dgm:pt>
    <dgm:pt modelId="{DB9CDB72-DF46-4011-84AE-AB588B860C32}" type="pres">
      <dgm:prSet presAssocID="{E199042B-04C3-4F89-B4DA-44B143CFC849}" presName="connectorText" presStyleLbl="sibTrans2D1" presStyleIdx="3" presStyleCnt="4"/>
      <dgm:spPr/>
    </dgm:pt>
    <dgm:pt modelId="{356F955E-29A4-4A8F-8D1B-933E46751498}" type="pres">
      <dgm:prSet presAssocID="{1E75016E-7D31-46E2-90C2-22D2C9D20DED}" presName="node" presStyleLbl="node1" presStyleIdx="4" presStyleCnt="5">
        <dgm:presLayoutVars>
          <dgm:bulletEnabled val="1"/>
        </dgm:presLayoutVars>
      </dgm:prSet>
      <dgm:spPr/>
    </dgm:pt>
  </dgm:ptLst>
  <dgm:cxnLst>
    <dgm:cxn modelId="{2CDC6407-EEF5-42C2-AB51-90A72C061206}" type="presOf" srcId="{1E75016E-7D31-46E2-90C2-22D2C9D20DED}" destId="{356F955E-29A4-4A8F-8D1B-933E46751498}" srcOrd="0" destOrd="0" presId="urn:microsoft.com/office/officeart/2005/8/layout/process1"/>
    <dgm:cxn modelId="{E0F0E628-FDDB-4391-A237-0E4D567F30BA}" srcId="{19246440-D822-4629-88D1-5E39A247FEB4}" destId="{353C7D02-8BBB-49F0-9CD3-DEC3BBFCDF93}" srcOrd="0" destOrd="0" parTransId="{B397FD12-8AD1-4D83-821C-3942C22D0EE7}" sibTransId="{39537655-AAE1-44C0-B5A6-1209B63CD78A}"/>
    <dgm:cxn modelId="{FD90B131-22BF-4D84-9F6A-04B2CE9088A4}" type="presOf" srcId="{2403E53A-44FE-499E-854D-3ED3849B33DC}" destId="{57379ABD-00C6-499A-A2C9-F0B823BD08E5}" srcOrd="0" destOrd="0" presId="urn:microsoft.com/office/officeart/2005/8/layout/process1"/>
    <dgm:cxn modelId="{570AF540-1D6C-4503-83CA-9B2B7D7B4579}" type="presOf" srcId="{C833AF0C-09C0-43FB-B642-700C8B1DCB92}" destId="{8609D287-767E-412E-BBE1-3F2E0B6909B9}" srcOrd="0" destOrd="0" presId="urn:microsoft.com/office/officeart/2005/8/layout/process1"/>
    <dgm:cxn modelId="{54DC415F-24E6-4FBB-B720-4F7D3008FE08}" type="presOf" srcId="{CC681FC2-7E01-4230-8D6F-0FAEE81D14B4}" destId="{458AE0EC-0EF2-4974-B558-D1D68013D563}" srcOrd="0" destOrd="0" presId="urn:microsoft.com/office/officeart/2005/8/layout/process1"/>
    <dgm:cxn modelId="{AF262D63-4ED0-49A3-8FE7-23BB58FE48D8}" type="presOf" srcId="{353C7D02-8BBB-49F0-9CD3-DEC3BBFCDF93}" destId="{FC0E79CA-22DB-4B01-AD11-99F17A2A9EBC}" srcOrd="0" destOrd="0" presId="urn:microsoft.com/office/officeart/2005/8/layout/process1"/>
    <dgm:cxn modelId="{DDF3F84D-5145-4B80-9E96-EBC9F839B0B4}" type="presOf" srcId="{19246440-D822-4629-88D1-5E39A247FEB4}" destId="{4473BDBB-D4E7-4EA1-9C1D-BF81E9469344}" srcOrd="0" destOrd="0" presId="urn:microsoft.com/office/officeart/2005/8/layout/process1"/>
    <dgm:cxn modelId="{0EB3586F-FAF7-4BF3-9144-888A0DE2BEAA}" srcId="{19246440-D822-4629-88D1-5E39A247FEB4}" destId="{1E75016E-7D31-46E2-90C2-22D2C9D20DED}" srcOrd="4" destOrd="0" parTransId="{7C4DB989-7335-42A8-8151-6575DAC4D275}" sibTransId="{9008D624-9AE8-48DA-BF26-0678BD4D6DD2}"/>
    <dgm:cxn modelId="{A6098979-3C51-4153-91F0-567DCFE28DEC}" type="presOf" srcId="{CC681FC2-7E01-4230-8D6F-0FAEE81D14B4}" destId="{C67095A7-D8C0-4738-8E17-744AA5B77DE2}" srcOrd="1" destOrd="0" presId="urn:microsoft.com/office/officeart/2005/8/layout/process1"/>
    <dgm:cxn modelId="{269EED85-8DB7-4143-B01F-79883FCA5FE1}" type="presOf" srcId="{39537655-AAE1-44C0-B5A6-1209B63CD78A}" destId="{4490565F-96A3-4AA0-8D45-C7B1D0003B33}" srcOrd="1" destOrd="0" presId="urn:microsoft.com/office/officeart/2005/8/layout/process1"/>
    <dgm:cxn modelId="{FD12E896-E365-4369-86FD-591FA09B4FB2}" srcId="{19246440-D822-4629-88D1-5E39A247FEB4}" destId="{65A49C8C-ECDA-4EAE-8FEE-456CD8B0FD6B}" srcOrd="2" destOrd="0" parTransId="{1A70555B-436E-49C3-800D-962A0AFE41E7}" sibTransId="{CC681FC2-7E01-4230-8D6F-0FAEE81D14B4}"/>
    <dgm:cxn modelId="{E94E6799-993C-4DB1-A55C-71E3C552E340}" type="presOf" srcId="{E199042B-04C3-4F89-B4DA-44B143CFC849}" destId="{DB9CDB72-DF46-4011-84AE-AB588B860C32}" srcOrd="1" destOrd="0" presId="urn:microsoft.com/office/officeart/2005/8/layout/process1"/>
    <dgm:cxn modelId="{914710A7-7E9D-4D6E-B2E9-309CE65C762A}" srcId="{19246440-D822-4629-88D1-5E39A247FEB4}" destId="{2403E53A-44FE-499E-854D-3ED3849B33DC}" srcOrd="3" destOrd="0" parTransId="{EA6BA905-2A0E-43D0-8EF9-9560ACDA79A9}" sibTransId="{E199042B-04C3-4F89-B4DA-44B143CFC849}"/>
    <dgm:cxn modelId="{9726BEA7-932E-409F-8940-FBB226A82693}" type="presOf" srcId="{32FE9A26-B7EB-4FC3-BE9C-F4BABAC7F85F}" destId="{441D1405-3787-42B2-9EDC-2C3021C8B551}" srcOrd="0" destOrd="0" presId="urn:microsoft.com/office/officeart/2005/8/layout/process1"/>
    <dgm:cxn modelId="{1E76F7A8-607F-405D-84C8-CFA583EF5258}" type="presOf" srcId="{65A49C8C-ECDA-4EAE-8FEE-456CD8B0FD6B}" destId="{7A8FADFD-6CD7-4C67-9A3B-7B51E4E8BAC9}" srcOrd="0" destOrd="0" presId="urn:microsoft.com/office/officeart/2005/8/layout/process1"/>
    <dgm:cxn modelId="{8FBFE5AC-2331-4ED2-B69E-53DD093CD9BE}" type="presOf" srcId="{C833AF0C-09C0-43FB-B642-700C8B1DCB92}" destId="{036ABFBE-6583-418F-A0C4-4DC609DE4932}" srcOrd="1" destOrd="0" presId="urn:microsoft.com/office/officeart/2005/8/layout/process1"/>
    <dgm:cxn modelId="{42582FC5-2E64-472E-B87A-C0E281EDC7CF}" type="presOf" srcId="{39537655-AAE1-44C0-B5A6-1209B63CD78A}" destId="{A20EB258-9BF6-42CE-AD68-C62EE78C79EA}" srcOrd="0" destOrd="0" presId="urn:microsoft.com/office/officeart/2005/8/layout/process1"/>
    <dgm:cxn modelId="{4E1514F5-89B4-4C95-925F-3A82C15D5D71}" srcId="{19246440-D822-4629-88D1-5E39A247FEB4}" destId="{32FE9A26-B7EB-4FC3-BE9C-F4BABAC7F85F}" srcOrd="1" destOrd="0" parTransId="{1184397C-43F9-447D-8A43-EEE5B1759AD1}" sibTransId="{C833AF0C-09C0-43FB-B642-700C8B1DCB92}"/>
    <dgm:cxn modelId="{F2FA69FD-2378-4CEB-ABDE-AFD0F38BA5CC}" type="presOf" srcId="{E199042B-04C3-4F89-B4DA-44B143CFC849}" destId="{40A77936-ACA6-47B0-ADA5-35046B9D4968}" srcOrd="0" destOrd="0" presId="urn:microsoft.com/office/officeart/2005/8/layout/process1"/>
    <dgm:cxn modelId="{146F141C-A6AA-4C4D-993F-D76636DF6949}" type="presParOf" srcId="{4473BDBB-D4E7-4EA1-9C1D-BF81E9469344}" destId="{FC0E79CA-22DB-4B01-AD11-99F17A2A9EBC}" srcOrd="0" destOrd="0" presId="urn:microsoft.com/office/officeart/2005/8/layout/process1"/>
    <dgm:cxn modelId="{718978B3-49BA-4E1E-A378-3D1C6EE0620A}" type="presParOf" srcId="{4473BDBB-D4E7-4EA1-9C1D-BF81E9469344}" destId="{A20EB258-9BF6-42CE-AD68-C62EE78C79EA}" srcOrd="1" destOrd="0" presId="urn:microsoft.com/office/officeart/2005/8/layout/process1"/>
    <dgm:cxn modelId="{8447F419-E148-4426-8D00-A3194062F003}" type="presParOf" srcId="{A20EB258-9BF6-42CE-AD68-C62EE78C79EA}" destId="{4490565F-96A3-4AA0-8D45-C7B1D0003B33}" srcOrd="0" destOrd="0" presId="urn:microsoft.com/office/officeart/2005/8/layout/process1"/>
    <dgm:cxn modelId="{493CF816-872E-4A83-96E3-DDE582A51D91}" type="presParOf" srcId="{4473BDBB-D4E7-4EA1-9C1D-BF81E9469344}" destId="{441D1405-3787-42B2-9EDC-2C3021C8B551}" srcOrd="2" destOrd="0" presId="urn:microsoft.com/office/officeart/2005/8/layout/process1"/>
    <dgm:cxn modelId="{E7A14419-38AB-4B19-B117-B2226D202C1A}" type="presParOf" srcId="{4473BDBB-D4E7-4EA1-9C1D-BF81E9469344}" destId="{8609D287-767E-412E-BBE1-3F2E0B6909B9}" srcOrd="3" destOrd="0" presId="urn:microsoft.com/office/officeart/2005/8/layout/process1"/>
    <dgm:cxn modelId="{CD350FAB-CF99-4D5C-98B7-229034947EE0}" type="presParOf" srcId="{8609D287-767E-412E-BBE1-3F2E0B6909B9}" destId="{036ABFBE-6583-418F-A0C4-4DC609DE4932}" srcOrd="0" destOrd="0" presId="urn:microsoft.com/office/officeart/2005/8/layout/process1"/>
    <dgm:cxn modelId="{00997DEF-1F6C-4145-9AAC-4C821192281A}" type="presParOf" srcId="{4473BDBB-D4E7-4EA1-9C1D-BF81E9469344}" destId="{7A8FADFD-6CD7-4C67-9A3B-7B51E4E8BAC9}" srcOrd="4" destOrd="0" presId="urn:microsoft.com/office/officeart/2005/8/layout/process1"/>
    <dgm:cxn modelId="{1447E9CE-B870-48F1-A43F-434CD4DF6FD1}" type="presParOf" srcId="{4473BDBB-D4E7-4EA1-9C1D-BF81E9469344}" destId="{458AE0EC-0EF2-4974-B558-D1D68013D563}" srcOrd="5" destOrd="0" presId="urn:microsoft.com/office/officeart/2005/8/layout/process1"/>
    <dgm:cxn modelId="{D9B8A014-C882-48F1-9D0E-96FD78A836E5}" type="presParOf" srcId="{458AE0EC-0EF2-4974-B558-D1D68013D563}" destId="{C67095A7-D8C0-4738-8E17-744AA5B77DE2}" srcOrd="0" destOrd="0" presId="urn:microsoft.com/office/officeart/2005/8/layout/process1"/>
    <dgm:cxn modelId="{6F95F6EA-FEFF-47B1-A838-72DAA19E0EBD}" type="presParOf" srcId="{4473BDBB-D4E7-4EA1-9C1D-BF81E9469344}" destId="{57379ABD-00C6-499A-A2C9-F0B823BD08E5}" srcOrd="6" destOrd="0" presId="urn:microsoft.com/office/officeart/2005/8/layout/process1"/>
    <dgm:cxn modelId="{BFCE320E-1883-4BE0-9B69-FC984F21FD6C}" type="presParOf" srcId="{4473BDBB-D4E7-4EA1-9C1D-BF81E9469344}" destId="{40A77936-ACA6-47B0-ADA5-35046B9D4968}" srcOrd="7" destOrd="0" presId="urn:microsoft.com/office/officeart/2005/8/layout/process1"/>
    <dgm:cxn modelId="{DDD20A8E-F435-48C5-86B9-850F0FC5D7B8}" type="presParOf" srcId="{40A77936-ACA6-47B0-ADA5-35046B9D4968}" destId="{DB9CDB72-DF46-4011-84AE-AB588B860C32}" srcOrd="0" destOrd="0" presId="urn:microsoft.com/office/officeart/2005/8/layout/process1"/>
    <dgm:cxn modelId="{D6BF4F9C-FBC6-4538-9488-FB1BE483AA64}" type="presParOf" srcId="{4473BDBB-D4E7-4EA1-9C1D-BF81E9469344}" destId="{356F955E-29A4-4A8F-8D1B-933E46751498}"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0E79CA-22DB-4B01-AD11-99F17A2A9EBC}">
      <dsp:nvSpPr>
        <dsp:cNvPr id="0" name=""/>
        <dsp:cNvSpPr/>
      </dsp:nvSpPr>
      <dsp:spPr>
        <a:xfrm>
          <a:off x="5086" y="518737"/>
          <a:ext cx="1576843" cy="125654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Policy Analysis → CO₂ Cap Adjustment</a:t>
          </a:r>
          <a:endParaRPr lang="en-US" sz="1800" kern="1200"/>
        </a:p>
      </dsp:txBody>
      <dsp:txXfrm>
        <a:off x="41889" y="555540"/>
        <a:ext cx="1503237" cy="1182941"/>
      </dsp:txXfrm>
    </dsp:sp>
    <dsp:sp modelId="{A20EB258-9BF6-42CE-AD68-C62EE78C79EA}">
      <dsp:nvSpPr>
        <dsp:cNvPr id="0" name=""/>
        <dsp:cNvSpPr/>
      </dsp:nvSpPr>
      <dsp:spPr>
        <a:xfrm>
          <a:off x="1739614" y="951482"/>
          <a:ext cx="334290" cy="3910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39614" y="1029693"/>
        <a:ext cx="234003" cy="234635"/>
      </dsp:txXfrm>
    </dsp:sp>
    <dsp:sp modelId="{441D1405-3787-42B2-9EDC-2C3021C8B551}">
      <dsp:nvSpPr>
        <dsp:cNvPr id="0" name=""/>
        <dsp:cNvSpPr/>
      </dsp:nvSpPr>
      <dsp:spPr>
        <a:xfrm>
          <a:off x="2212667" y="518737"/>
          <a:ext cx="1576843" cy="125654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t>Nuclear Capacity Roadmap</a:t>
          </a:r>
        </a:p>
      </dsp:txBody>
      <dsp:txXfrm>
        <a:off x="2249470" y="555540"/>
        <a:ext cx="1503237" cy="1182941"/>
      </dsp:txXfrm>
    </dsp:sp>
    <dsp:sp modelId="{8609D287-767E-412E-BBE1-3F2E0B6909B9}">
      <dsp:nvSpPr>
        <dsp:cNvPr id="0" name=""/>
        <dsp:cNvSpPr/>
      </dsp:nvSpPr>
      <dsp:spPr>
        <a:xfrm>
          <a:off x="3947195" y="951482"/>
          <a:ext cx="334290" cy="3910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47195" y="1029693"/>
        <a:ext cx="234003" cy="234635"/>
      </dsp:txXfrm>
    </dsp:sp>
    <dsp:sp modelId="{7A8FADFD-6CD7-4C67-9A3B-7B51E4E8BAC9}">
      <dsp:nvSpPr>
        <dsp:cNvPr id="0" name=""/>
        <dsp:cNvSpPr/>
      </dsp:nvSpPr>
      <dsp:spPr>
        <a:xfrm>
          <a:off x="4420248" y="518737"/>
          <a:ext cx="1576843" cy="125654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t>Expanded ESG Scorecard</a:t>
          </a:r>
        </a:p>
      </dsp:txBody>
      <dsp:txXfrm>
        <a:off x="4457051" y="555540"/>
        <a:ext cx="1503237" cy="1182941"/>
      </dsp:txXfrm>
    </dsp:sp>
    <dsp:sp modelId="{458AE0EC-0EF2-4974-B558-D1D68013D563}">
      <dsp:nvSpPr>
        <dsp:cNvPr id="0" name=""/>
        <dsp:cNvSpPr/>
      </dsp:nvSpPr>
      <dsp:spPr>
        <a:xfrm>
          <a:off x="6154776" y="951482"/>
          <a:ext cx="334290" cy="3910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154776" y="1029693"/>
        <a:ext cx="234003" cy="234635"/>
      </dsp:txXfrm>
    </dsp:sp>
    <dsp:sp modelId="{57379ABD-00C6-499A-A2C9-F0B823BD08E5}">
      <dsp:nvSpPr>
        <dsp:cNvPr id="0" name=""/>
        <dsp:cNvSpPr/>
      </dsp:nvSpPr>
      <dsp:spPr>
        <a:xfrm>
          <a:off x="6627829" y="518737"/>
          <a:ext cx="1576843" cy="125654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t>Clean‑Firm Pilot Programs</a:t>
          </a:r>
          <a:endParaRPr lang="en-US" sz="1800" kern="1200">
            <a:latin typeface="Aptos Display" panose="020F0302020204030204"/>
          </a:endParaRPr>
        </a:p>
      </dsp:txBody>
      <dsp:txXfrm>
        <a:off x="6664632" y="555540"/>
        <a:ext cx="1503237" cy="1182941"/>
      </dsp:txXfrm>
    </dsp:sp>
    <dsp:sp modelId="{40A77936-ACA6-47B0-ADA5-35046B9D4968}">
      <dsp:nvSpPr>
        <dsp:cNvPr id="0" name=""/>
        <dsp:cNvSpPr/>
      </dsp:nvSpPr>
      <dsp:spPr>
        <a:xfrm>
          <a:off x="8362357" y="951482"/>
          <a:ext cx="334290" cy="3910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362357" y="1029693"/>
        <a:ext cx="234003" cy="234635"/>
      </dsp:txXfrm>
    </dsp:sp>
    <dsp:sp modelId="{356F955E-29A4-4A8F-8D1B-933E46751498}">
      <dsp:nvSpPr>
        <dsp:cNvPr id="0" name=""/>
        <dsp:cNvSpPr/>
      </dsp:nvSpPr>
      <dsp:spPr>
        <a:xfrm>
          <a:off x="8835410" y="518737"/>
          <a:ext cx="1576843" cy="125654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t>Tool Roll‑out</a:t>
          </a:r>
          <a:endParaRPr lang="en-US" sz="1800" kern="1200">
            <a:latin typeface="Aptos Display" panose="020F0302020204030204"/>
          </a:endParaRPr>
        </a:p>
      </dsp:txBody>
      <dsp:txXfrm>
        <a:off x="8872213" y="555540"/>
        <a:ext cx="1503237" cy="1182941"/>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FFD7B5-50A1-9CF9-42C4-BBE460F838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0EE0A89-C4AA-3F9D-5C3E-AA3FBF1A07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AE0377-4C4C-6849-A505-445AA43B4013}" type="datetimeFigureOut">
              <a:rPr lang="en-US" smtClean="0"/>
              <a:t>4/21/2025</a:t>
            </a:fld>
            <a:endParaRPr lang="en-US"/>
          </a:p>
        </p:txBody>
      </p:sp>
      <p:sp>
        <p:nvSpPr>
          <p:cNvPr id="4" name="Footer Placeholder 3">
            <a:extLst>
              <a:ext uri="{FF2B5EF4-FFF2-40B4-BE49-F238E27FC236}">
                <a16:creationId xmlns:a16="http://schemas.microsoft.com/office/drawing/2014/main" id="{BE013719-7E15-6CF3-ABED-2411C792F3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F106723-7FB8-E56E-31E4-C7006509F2B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C3EC3CE-D218-BE47-BFAA-56FDE169CC50}" type="slidenum">
              <a:rPr lang="en-US" smtClean="0"/>
              <a:t>‹#›</a:t>
            </a:fld>
            <a:endParaRPr lang="en-US"/>
          </a:p>
        </p:txBody>
      </p:sp>
    </p:spTree>
    <p:extLst>
      <p:ext uri="{BB962C8B-B14F-4D97-AF65-F5344CB8AC3E}">
        <p14:creationId xmlns:p14="http://schemas.microsoft.com/office/powerpoint/2010/main" val="286314084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1F3E7D-5473-4AAF-AE9A-A3591C777A6C}" type="datetimeFigureOut">
              <a:rPr lang="en-US" smtClean="0"/>
              <a:t>4/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9CD8D0-0B0C-4F7F-8AD3-AD2652E00BEB}" type="slidenum">
              <a:rPr lang="en-US" smtClean="0"/>
              <a:t>‹#›</a:t>
            </a:fld>
            <a:endParaRPr lang="en-US"/>
          </a:p>
        </p:txBody>
      </p:sp>
    </p:spTree>
    <p:extLst>
      <p:ext uri="{BB962C8B-B14F-4D97-AF65-F5344CB8AC3E}">
        <p14:creationId xmlns:p14="http://schemas.microsoft.com/office/powerpoint/2010/main" val="779661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begin, let’s set the context. The U.S. is facing a pivotal moment in its energy transition. As electricity demand continues to grow, the pressure is on to deliver power that is not just cost-effective, but also reliable and sustainable. But meeting this demand isn’t straightforward. On one hand, we have policy pressures like strict CO₂ emission caps of 100 metric tons per year. On the other, we have practical hurdles—capacity limitations, aging infrastructure, volatile fuel prices, and rising public scrutiny of conventional energy sources. The fishbone diagram here illustrates how a range of policy, economic, and infrastructure factors collectively shape the challenge of meeting energy demand while maintaining sustainability.</a:t>
            </a:r>
          </a:p>
        </p:txBody>
      </p:sp>
      <p:sp>
        <p:nvSpPr>
          <p:cNvPr id="4" name="Slide Number Placeholder 3"/>
          <p:cNvSpPr>
            <a:spLocks noGrp="1"/>
          </p:cNvSpPr>
          <p:nvPr>
            <p:ph type="sldNum" sz="quarter" idx="5"/>
          </p:nvPr>
        </p:nvSpPr>
        <p:spPr/>
        <p:txBody>
          <a:bodyPr/>
          <a:lstStyle/>
          <a:p>
            <a:fld id="{029CD8D0-0B0C-4F7F-8AD3-AD2652E00BEB}" type="slidenum">
              <a:rPr lang="en-US" smtClean="0"/>
              <a:t>4</a:t>
            </a:fld>
            <a:endParaRPr lang="en-US"/>
          </a:p>
        </p:txBody>
      </p:sp>
    </p:spTree>
    <p:extLst>
      <p:ext uri="{BB962C8B-B14F-4D97-AF65-F5344CB8AC3E}">
        <p14:creationId xmlns:p14="http://schemas.microsoft.com/office/powerpoint/2010/main" val="2345712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how do we strike that balance—between keeping costs down and maintaining reliability—without exceeding environmental and technical limits? That’s the challenge we’re addressing in this project. We decided not to optimize just one objective like cost or reliability. Instead, we use a Pareto-based multi-objective approach. This allows us to map out trade-offs and identify options that offer the best possible balance. In doing so, we’re able to support decision-making that reflects real-world complexity, rather than relying on ideal assumptions that might not hold in practice</a:t>
            </a:r>
          </a:p>
        </p:txBody>
      </p:sp>
      <p:sp>
        <p:nvSpPr>
          <p:cNvPr id="4" name="Slide Number Placeholder 3"/>
          <p:cNvSpPr>
            <a:spLocks noGrp="1"/>
          </p:cNvSpPr>
          <p:nvPr>
            <p:ph type="sldNum" sz="quarter" idx="5"/>
          </p:nvPr>
        </p:nvSpPr>
        <p:spPr/>
        <p:txBody>
          <a:bodyPr/>
          <a:lstStyle/>
          <a:p>
            <a:fld id="{029CD8D0-0B0C-4F7F-8AD3-AD2652E00BEB}" type="slidenum">
              <a:rPr lang="en-US" smtClean="0"/>
              <a:t>5</a:t>
            </a:fld>
            <a:endParaRPr lang="en-US"/>
          </a:p>
        </p:txBody>
      </p:sp>
    </p:spTree>
    <p:extLst>
      <p:ext uri="{BB962C8B-B14F-4D97-AF65-F5344CB8AC3E}">
        <p14:creationId xmlns:p14="http://schemas.microsoft.com/office/powerpoint/2010/main" val="3601921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core problem is straightforward, but multi-dimensional. The U.S. must generate 1000 MWh of electricity using a mix of four sources—solar, wind, nuclear, and fossil. Each source has different characteristics: cost, capacity, reliability, and emissions. Our goal is to determine the optimal combination that minimizes total cost while maximizing overall reliability. But we have to do this within some strict constraints: total CO₂ emissions must stay under 100 metric tons, each source has a generation limit, and total output must meet exactly 1000 MWh. It’s a classic resource allocation challenge—but with real-world stakes."</a:t>
            </a:r>
          </a:p>
        </p:txBody>
      </p:sp>
      <p:sp>
        <p:nvSpPr>
          <p:cNvPr id="4" name="Slide Number Placeholder 3"/>
          <p:cNvSpPr>
            <a:spLocks noGrp="1"/>
          </p:cNvSpPr>
          <p:nvPr>
            <p:ph type="sldNum" sz="quarter" idx="5"/>
          </p:nvPr>
        </p:nvSpPr>
        <p:spPr/>
        <p:txBody>
          <a:bodyPr/>
          <a:lstStyle/>
          <a:p>
            <a:fld id="{029CD8D0-0B0C-4F7F-8AD3-AD2652E00BEB}" type="slidenum">
              <a:rPr lang="en-US" smtClean="0"/>
              <a:t>6</a:t>
            </a:fld>
            <a:endParaRPr lang="en-US"/>
          </a:p>
        </p:txBody>
      </p:sp>
    </p:spTree>
    <p:extLst>
      <p:ext uri="{BB962C8B-B14F-4D97-AF65-F5344CB8AC3E}">
        <p14:creationId xmlns:p14="http://schemas.microsoft.com/office/powerpoint/2010/main" val="724542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ach our goal of finding the optimal energy mix, we’re trying to </a:t>
            </a:r>
            <a:r>
              <a:rPr lang="en-US" b="1"/>
              <a:t>minimize total generation cost</a:t>
            </a:r>
            <a:r>
              <a:rPr lang="en-US"/>
              <a:t> and </a:t>
            </a:r>
            <a:r>
              <a:rPr lang="en-US" b="1"/>
              <a:t>maximize reliability</a:t>
            </a:r>
            <a:r>
              <a:rPr lang="en-US"/>
              <a:t>.</a:t>
            </a:r>
            <a:br>
              <a:rPr lang="en-US">
                <a:cs typeface="+mn-lt"/>
              </a:rPr>
            </a:br>
            <a:r>
              <a:rPr lang="en-US"/>
              <a:t> We used the </a:t>
            </a:r>
            <a:r>
              <a:rPr lang="en-US" b="1"/>
              <a:t>Pareto multi-objective method</a:t>
            </a:r>
            <a:r>
              <a:rPr lang="en-US"/>
              <a:t> to approach this.</a:t>
            </a:r>
          </a:p>
          <a:p>
            <a:r>
              <a:rPr lang="en-US"/>
              <a:t>Before jumping into Solver, here’s how we set it up:</a:t>
            </a:r>
            <a:br>
              <a:rPr lang="en-US">
                <a:cs typeface="+mn-lt"/>
              </a:rPr>
            </a:br>
            <a:r>
              <a:rPr lang="en-US"/>
              <a:t> Our </a:t>
            </a:r>
            <a:r>
              <a:rPr lang="en-US" b="1"/>
              <a:t>decision variables</a:t>
            </a:r>
            <a:r>
              <a:rPr lang="en-US"/>
              <a:t> are the four energy sources—Solar, Wind, Nuclear, and Fossil.</a:t>
            </a:r>
            <a:br>
              <a:rPr lang="en-US">
                <a:cs typeface="+mn-lt"/>
              </a:rPr>
            </a:br>
            <a:r>
              <a:rPr lang="en-US"/>
              <a:t> And we added a few key </a:t>
            </a:r>
            <a:r>
              <a:rPr lang="en-US" b="1"/>
              <a:t>constraints</a:t>
            </a:r>
            <a:r>
              <a:rPr lang="en-US"/>
              <a:t>:</a:t>
            </a:r>
          </a:p>
          <a:p>
            <a:pPr marL="285750" indent="-285750">
              <a:buFont typeface="Arial"/>
              <a:buChar char="•"/>
            </a:pPr>
            <a:r>
              <a:rPr lang="en-US"/>
              <a:t>A CO₂ emissions cap of </a:t>
            </a:r>
            <a:r>
              <a:rPr lang="en-US" b="1"/>
              <a:t>100 metric tons per year</a:t>
            </a:r>
            <a:r>
              <a:rPr lang="en-US"/>
              <a:t> (this comes from policy)</a:t>
            </a:r>
          </a:p>
          <a:p>
            <a:pPr marL="285750" indent="-285750">
              <a:buFont typeface="Arial"/>
              <a:buChar char="•"/>
            </a:pPr>
            <a:r>
              <a:rPr lang="en-US" b="1"/>
              <a:t>Source capacity limits</a:t>
            </a:r>
            <a:r>
              <a:rPr lang="en-US"/>
              <a:t> for each energy type</a:t>
            </a:r>
          </a:p>
          <a:p>
            <a:pPr marL="285750" indent="-285750">
              <a:buFont typeface="Arial"/>
              <a:buChar char="•"/>
            </a:pPr>
            <a:r>
              <a:rPr lang="en-US" b="1"/>
              <a:t>Total generation equals 1000 MWh</a:t>
            </a:r>
            <a:endParaRPr lang="en-US"/>
          </a:p>
          <a:p>
            <a:r>
              <a:rPr lang="en-US"/>
              <a:t>• • And of course, </a:t>
            </a:r>
            <a:r>
              <a:rPr lang="en-US" b="1"/>
              <a:t>non-negative variables</a:t>
            </a:r>
            <a:endParaRPr lang="en-US"/>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029CD8D0-0B0C-4F7F-8AD3-AD2652E00BEB}" type="slidenum">
              <a:rPr lang="en-US" smtClean="0"/>
              <a:t>7</a:t>
            </a:fld>
            <a:endParaRPr lang="en-US"/>
          </a:p>
        </p:txBody>
      </p:sp>
    </p:spTree>
    <p:extLst>
      <p:ext uri="{BB962C8B-B14F-4D97-AF65-F5344CB8AC3E}">
        <p14:creationId xmlns:p14="http://schemas.microsoft.com/office/powerpoint/2010/main" val="3653063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get into the solution process. We started by using Solver to </a:t>
            </a:r>
            <a:r>
              <a:rPr lang="en-US" b="1"/>
              <a:t>minimize cost</a:t>
            </a:r>
            <a:r>
              <a:rPr lang="en-US"/>
              <a:t>.</a:t>
            </a:r>
          </a:p>
          <a:p>
            <a:r>
              <a:rPr lang="en-US"/>
              <a:t>While meeting the constraint, we got the </a:t>
            </a:r>
            <a:r>
              <a:rPr lang="en-US" b="1"/>
              <a:t>lowest cost at $48,200</a:t>
            </a:r>
            <a:r>
              <a:rPr lang="en-US"/>
              <a:t> and 45% reliability.</a:t>
            </a: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029CD8D0-0B0C-4F7F-8AD3-AD2652E00BEB}" type="slidenum">
              <a:rPr lang="en-US" smtClean="0"/>
              <a:t>8</a:t>
            </a:fld>
            <a:endParaRPr lang="en-US"/>
          </a:p>
        </p:txBody>
      </p:sp>
    </p:spTree>
    <p:extLst>
      <p:ext uri="{BB962C8B-B14F-4D97-AF65-F5344CB8AC3E}">
        <p14:creationId xmlns:p14="http://schemas.microsoft.com/office/powerpoint/2010/main" val="4109020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xt, we use solver to get </a:t>
            </a:r>
            <a:r>
              <a:rPr lang="en-US" b="1"/>
              <a:t>maximize reliability</a:t>
            </a:r>
            <a:r>
              <a:rPr lang="en-US"/>
              <a:t>.</a:t>
            </a:r>
            <a:br>
              <a:rPr lang="en-US">
                <a:cs typeface="+mn-lt"/>
              </a:rPr>
            </a:br>
            <a:r>
              <a:rPr lang="en-US"/>
              <a:t> That increase the reliability up to </a:t>
            </a:r>
            <a:r>
              <a:rPr lang="en-US" b="1"/>
              <a:t>66%</a:t>
            </a:r>
            <a:r>
              <a:rPr lang="en-US"/>
              <a:t>, and also the </a:t>
            </a:r>
            <a:r>
              <a:rPr lang="en-US" b="1"/>
              <a:t>cost to $63,300</a:t>
            </a:r>
            <a:r>
              <a:rPr lang="en-US"/>
              <a:t>.</a:t>
            </a:r>
          </a:p>
          <a:p>
            <a:endParaRPr lang="en-US"/>
          </a:p>
        </p:txBody>
      </p:sp>
      <p:sp>
        <p:nvSpPr>
          <p:cNvPr id="4" name="Slide Number Placeholder 3"/>
          <p:cNvSpPr>
            <a:spLocks noGrp="1"/>
          </p:cNvSpPr>
          <p:nvPr>
            <p:ph type="sldNum" sz="quarter" idx="5"/>
          </p:nvPr>
        </p:nvSpPr>
        <p:spPr/>
        <p:txBody>
          <a:bodyPr/>
          <a:lstStyle/>
          <a:p>
            <a:fld id="{029CD8D0-0B0C-4F7F-8AD3-AD2652E00BEB}" type="slidenum">
              <a:rPr lang="en-US" smtClean="0"/>
              <a:t>9</a:t>
            </a:fld>
            <a:endParaRPr lang="en-US"/>
          </a:p>
        </p:txBody>
      </p:sp>
    </p:spTree>
    <p:extLst>
      <p:ext uri="{BB962C8B-B14F-4D97-AF65-F5344CB8AC3E}">
        <p14:creationId xmlns:p14="http://schemas.microsoft.com/office/powerpoint/2010/main" val="503616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ly, we used a </a:t>
            </a:r>
            <a:r>
              <a:rPr lang="en-US" b="1"/>
              <a:t>Pareto </a:t>
            </a:r>
            <a:r>
              <a:rPr lang="en-US"/>
              <a:t> to balance the tradeoff between cost and reliability.</a:t>
            </a:r>
            <a:br>
              <a:rPr lang="en-US">
                <a:cs typeface="+mn-lt"/>
              </a:rPr>
            </a:br>
            <a:r>
              <a:rPr lang="en-US"/>
              <a:t> We created </a:t>
            </a:r>
            <a:r>
              <a:rPr lang="en-US" b="1"/>
              <a:t>intermediate solutions</a:t>
            </a:r>
            <a:r>
              <a:rPr lang="en-US"/>
              <a:t> by adjusting the cost constraint. This gave us a nice </a:t>
            </a:r>
            <a:r>
              <a:rPr lang="en-US" b="1"/>
              <a:t>set of non-dominated solutions.</a:t>
            </a:r>
            <a:endParaRPr lang="en-US"/>
          </a:p>
          <a:p>
            <a:r>
              <a:rPr lang="en-US"/>
              <a:t>as we can see in the graph, higher cost will get to a higher reliability, this can help decision-makers select a plan that best fits budget and reliability needs. </a:t>
            </a:r>
          </a:p>
          <a:p>
            <a:r>
              <a:rPr lang="en-US"/>
              <a:t>Next, Tim will walk us through the recommendation.”</a:t>
            </a:r>
          </a:p>
        </p:txBody>
      </p:sp>
      <p:sp>
        <p:nvSpPr>
          <p:cNvPr id="4" name="Slide Number Placeholder 3"/>
          <p:cNvSpPr>
            <a:spLocks noGrp="1"/>
          </p:cNvSpPr>
          <p:nvPr>
            <p:ph type="sldNum" sz="quarter" idx="5"/>
          </p:nvPr>
        </p:nvSpPr>
        <p:spPr/>
        <p:txBody>
          <a:bodyPr/>
          <a:lstStyle/>
          <a:p>
            <a:fld id="{029CD8D0-0B0C-4F7F-8AD3-AD2652E00BEB}" type="slidenum">
              <a:rPr lang="en-US" smtClean="0"/>
              <a:t>10</a:t>
            </a:fld>
            <a:endParaRPr lang="en-US"/>
          </a:p>
        </p:txBody>
      </p:sp>
    </p:spTree>
    <p:extLst>
      <p:ext uri="{BB962C8B-B14F-4D97-AF65-F5344CB8AC3E}">
        <p14:creationId xmlns:p14="http://schemas.microsoft.com/office/powerpoint/2010/main" val="173548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lk about what we recommend based on our analysis.</a:t>
            </a:r>
            <a:br>
              <a:rPr lang="en-US">
                <a:cs typeface="+mn-lt"/>
              </a:rPr>
            </a:br>
            <a:endParaRPr lang="en-US"/>
          </a:p>
          <a:p>
            <a:r>
              <a:rPr lang="en-US"/>
              <a:t>First, when system reliability drops below 90%, it’s not just a technical issue. It means real consequences for families, hospitals, and businesses. That’s why we need a grid that’s both resilient and responsible.</a:t>
            </a:r>
          </a:p>
          <a:p>
            <a:endParaRPr lang="en-US">
              <a:cs typeface="+mn-lt"/>
            </a:endParaRPr>
          </a:p>
          <a:p>
            <a:r>
              <a:rPr lang="en-US"/>
              <a:t>Our first recommendation is to raise the current CO₂ cap. Right now, the 100-ton limit holds system reliability to around 66%. By increasing that cap slightly, we can bring more firm generation online — especially fossil fuel — to help the grid meet demand without blackouts.</a:t>
            </a:r>
          </a:p>
          <a:p>
            <a:endParaRPr lang="en-US">
              <a:cs typeface="+mn-lt"/>
            </a:endParaRPr>
          </a:p>
          <a:p>
            <a:r>
              <a:rPr lang="en-US"/>
              <a:t>Second, we suggest investing in nuclear generation by raising the current 300 MWh (Megawatt - hour) ceiling. Nuclear is zero-carbon and highly reliable, so this is a way to boost baseload capacity.</a:t>
            </a:r>
          </a:p>
          <a:p>
            <a:endParaRPr lang="en-US">
              <a:cs typeface="+mn-lt"/>
            </a:endParaRPr>
          </a:p>
          <a:p>
            <a:r>
              <a:rPr lang="en-US"/>
              <a:t>Last but not least, we recommend building out complementary clean-firm solutions, such as like long-duration storage and demand response, to replace fossil </a:t>
            </a:r>
            <a:r>
              <a:rPr lang="en-US" err="1"/>
              <a:t>peakers</a:t>
            </a:r>
            <a:r>
              <a:rPr lang="en-US"/>
              <a:t> over time and strengthen the grid without added emissions.</a:t>
            </a: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029CD8D0-0B0C-4F7F-8AD3-AD2652E00BEB}" type="slidenum">
              <a:rPr lang="en-US" smtClean="0"/>
              <a:t>11</a:t>
            </a:fld>
            <a:endParaRPr lang="en-US"/>
          </a:p>
        </p:txBody>
      </p:sp>
    </p:spTree>
    <p:extLst>
      <p:ext uri="{BB962C8B-B14F-4D97-AF65-F5344CB8AC3E}">
        <p14:creationId xmlns:p14="http://schemas.microsoft.com/office/powerpoint/2010/main" val="367452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how do we turn those recommendations into action?</a:t>
            </a:r>
          </a:p>
          <a:p>
            <a:endParaRPr lang="en-US">
              <a:cs typeface="+mn-lt"/>
            </a:endParaRPr>
          </a:p>
          <a:p>
            <a:r>
              <a:rPr lang="en-US"/>
              <a:t>We’ve laid out a phased roadmap, starting with policy. The first step is to revisit the CO₂ cap and not to throw it out, but to reassess how strict it needs to be, especially when reliability is at risk.</a:t>
            </a:r>
            <a:br>
              <a:rPr lang="en-US">
                <a:cs typeface="+mn-lt"/>
              </a:rPr>
            </a:br>
            <a:endParaRPr lang="en-US"/>
          </a:p>
          <a:p>
            <a:r>
              <a:rPr lang="en-US"/>
              <a:t>Next is the nuclear roadmap. Here, we evaluate options to increase the cap through either plant upgrades or deploying small modular reactors. That gives us more carbon-free, reliable power.</a:t>
            </a:r>
            <a:br>
              <a:rPr lang="en-US">
                <a:cs typeface="+mn-lt"/>
              </a:rPr>
            </a:br>
            <a:endParaRPr lang="en-US"/>
          </a:p>
          <a:p>
            <a:r>
              <a:rPr lang="en-US"/>
              <a:t>After that, we expand the sustainability scorecard — not just CO₂, but also land use, water, waste, and jobs. This gives us a more complete picture of system </a:t>
            </a:r>
            <a:r>
              <a:rPr lang="en-US" err="1"/>
              <a:t>impact.Then</a:t>
            </a:r>
            <a:r>
              <a:rPr lang="en-US"/>
              <a:t> we move into pilot programs. We’ll launch long-duration storage and demand response pilots to build out clean-firm capacity.</a:t>
            </a:r>
            <a:br>
              <a:rPr lang="en-US">
                <a:cs typeface="+mn-lt"/>
              </a:rPr>
            </a:br>
            <a:endParaRPr lang="en-US"/>
          </a:p>
          <a:p>
            <a:r>
              <a:rPr lang="en-US"/>
              <a:t>And finally, we roll out a cloud-based </a:t>
            </a:r>
            <a:r>
              <a:rPr lang="en-US" err="1"/>
              <a:t>optimisation</a:t>
            </a:r>
            <a:r>
              <a:rPr lang="en-US"/>
              <a:t> tool. This helps Department of Energy and Energy Information Administration teams re-run the model quarterly, keeping it updated as prices shift, policies evolve, or new technologies become available.</a:t>
            </a:r>
          </a:p>
          <a:p>
            <a:endParaRPr lang="en-US">
              <a:cs typeface="+mn-lt"/>
            </a:endParaRPr>
          </a:p>
          <a:p>
            <a:r>
              <a:rPr lang="en-US"/>
              <a:t>This way, we’re not just making a one-time decision — we’re building a system that can keep adapting to whatever comes next.</a:t>
            </a:r>
          </a:p>
        </p:txBody>
      </p:sp>
      <p:sp>
        <p:nvSpPr>
          <p:cNvPr id="4" name="Slide Number Placeholder 3"/>
          <p:cNvSpPr>
            <a:spLocks noGrp="1"/>
          </p:cNvSpPr>
          <p:nvPr>
            <p:ph type="sldNum" sz="quarter" idx="5"/>
          </p:nvPr>
        </p:nvSpPr>
        <p:spPr/>
        <p:txBody>
          <a:bodyPr/>
          <a:lstStyle/>
          <a:p>
            <a:fld id="{029CD8D0-0B0C-4F7F-8AD3-AD2652E00BEB}" type="slidenum">
              <a:rPr lang="en-US" smtClean="0"/>
              <a:t>12</a:t>
            </a:fld>
            <a:endParaRPr lang="en-US"/>
          </a:p>
        </p:txBody>
      </p:sp>
    </p:spTree>
    <p:extLst>
      <p:ext uri="{BB962C8B-B14F-4D97-AF65-F5344CB8AC3E}">
        <p14:creationId xmlns:p14="http://schemas.microsoft.com/office/powerpoint/2010/main" val="119332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C53E08A-C946-942C-4885-86C0E55E46E8}"/>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8C53E08A-C946-942C-4885-86C0E55E46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D27F884-C740-D802-202B-38198645FA79}"/>
              </a:ext>
            </a:extLst>
          </p:cNvPr>
          <p:cNvCxnSpPr>
            <a:cxnSpLocks/>
          </p:cNvCxnSpPr>
          <p:nvPr userDrawn="1"/>
        </p:nvCxnSpPr>
        <p:spPr>
          <a:xfrm>
            <a:off x="462371" y="1144244"/>
            <a:ext cx="11259632"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60ACA1FF-C394-0621-C636-BDCC71ECD197}"/>
              </a:ext>
            </a:extLst>
          </p:cNvPr>
          <p:cNvGrpSpPr/>
          <p:nvPr userDrawn="1"/>
        </p:nvGrpSpPr>
        <p:grpSpPr>
          <a:xfrm>
            <a:off x="0" y="6465261"/>
            <a:ext cx="12203152" cy="403890"/>
            <a:chOff x="0" y="6465261"/>
            <a:chExt cx="12203152" cy="403890"/>
          </a:xfrm>
        </p:grpSpPr>
        <p:sp>
          <p:nvSpPr>
            <p:cNvPr id="10" name="Rectangle 9">
              <a:extLst>
                <a:ext uri="{FF2B5EF4-FFF2-40B4-BE49-F238E27FC236}">
                  <a16:creationId xmlns:a16="http://schemas.microsoft.com/office/drawing/2014/main" id="{4DCDF020-0154-825D-25A5-566A96DF48FB}"/>
                </a:ext>
              </a:extLst>
            </p:cNvPr>
            <p:cNvSpPr/>
            <p:nvPr/>
          </p:nvSpPr>
          <p:spPr>
            <a:xfrm>
              <a:off x="0" y="6488668"/>
              <a:ext cx="12192000" cy="369332"/>
            </a:xfrm>
            <a:prstGeom prst="rect">
              <a:avLst/>
            </a:prstGeom>
            <a:solidFill>
              <a:srgbClr val="092F69"/>
            </a:solidFill>
            <a:ln>
              <a:solidFill>
                <a:srgbClr val="092F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DAE91DF-C67C-A273-8E73-9526B1AD8326}"/>
                </a:ext>
              </a:extLst>
            </p:cNvPr>
            <p:cNvGrpSpPr/>
            <p:nvPr/>
          </p:nvGrpSpPr>
          <p:grpSpPr>
            <a:xfrm>
              <a:off x="10786024" y="6465261"/>
              <a:ext cx="1417128" cy="403890"/>
              <a:chOff x="10792833" y="7445639"/>
              <a:chExt cx="1417128" cy="403890"/>
            </a:xfrm>
          </p:grpSpPr>
          <p:sp>
            <p:nvSpPr>
              <p:cNvPr id="12" name="Rectangle 11">
                <a:extLst>
                  <a:ext uri="{FF2B5EF4-FFF2-40B4-BE49-F238E27FC236}">
                    <a16:creationId xmlns:a16="http://schemas.microsoft.com/office/drawing/2014/main" id="{6D5E6139-B8BC-3A1E-BF18-BFF3672212FB}"/>
                  </a:ext>
                </a:extLst>
              </p:cNvPr>
              <p:cNvSpPr/>
              <p:nvPr/>
            </p:nvSpPr>
            <p:spPr>
              <a:xfrm>
                <a:off x="10792833" y="7445639"/>
                <a:ext cx="1417128" cy="4038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65A11893-8508-82C0-51A6-3FB65F8C5FD0}"/>
                  </a:ext>
                </a:extLst>
              </p:cNvPr>
              <p:cNvPicPr>
                <a:picLocks noChangeAspect="1"/>
              </p:cNvPicPr>
              <p:nvPr/>
            </p:nvPicPr>
            <p:blipFill>
              <a:blip r:embed="rId5"/>
              <a:stretch>
                <a:fillRect/>
              </a:stretch>
            </p:blipFill>
            <p:spPr>
              <a:xfrm>
                <a:off x="10907418" y="7487040"/>
                <a:ext cx="1192015" cy="339908"/>
              </a:xfrm>
              <a:prstGeom prst="rect">
                <a:avLst/>
              </a:prstGeom>
              <a:ln>
                <a:noFill/>
              </a:ln>
            </p:spPr>
          </p:pic>
        </p:grpSp>
      </p:grpSp>
      <p:sp>
        <p:nvSpPr>
          <p:cNvPr id="24" name="Title 23">
            <a:extLst>
              <a:ext uri="{FF2B5EF4-FFF2-40B4-BE49-F238E27FC236}">
                <a16:creationId xmlns:a16="http://schemas.microsoft.com/office/drawing/2014/main" id="{B6022847-797E-6483-9DEA-78856917C7A0}"/>
              </a:ext>
            </a:extLst>
          </p:cNvPr>
          <p:cNvSpPr>
            <a:spLocks noGrp="1"/>
          </p:cNvSpPr>
          <p:nvPr>
            <p:ph type="title" hasCustomPrompt="1"/>
          </p:nvPr>
        </p:nvSpPr>
        <p:spPr>
          <a:xfrm>
            <a:off x="462371" y="164812"/>
            <a:ext cx="11259632" cy="914400"/>
          </a:xfrm>
        </p:spPr>
        <p:txBody>
          <a:bodyPr vert="horz" anchor="t">
            <a:normAutofit/>
          </a:bodyPr>
          <a:lstStyle>
            <a:lvl1pPr>
              <a:defRPr sz="2600">
                <a:solidFill>
                  <a:schemeClr val="tx1"/>
                </a:solidFill>
                <a:latin typeface="Arial" panose="020B0604020202020204" pitchFamily="34" charset="0"/>
                <a:cs typeface="Arial" panose="020B0604020202020204" pitchFamily="34" charset="0"/>
              </a:defRPr>
            </a:lvl1pPr>
          </a:lstStyle>
          <a:p>
            <a:r>
              <a:rPr lang="en-US"/>
              <a:t>Title</a:t>
            </a:r>
            <a:br>
              <a:rPr lang="en-US"/>
            </a:br>
            <a:r>
              <a:rPr lang="en-US"/>
              <a:t>Banner</a:t>
            </a:r>
          </a:p>
        </p:txBody>
      </p:sp>
      <p:sp>
        <p:nvSpPr>
          <p:cNvPr id="2" name="Slide Number Placeholder 6">
            <a:extLst>
              <a:ext uri="{FF2B5EF4-FFF2-40B4-BE49-F238E27FC236}">
                <a16:creationId xmlns:a16="http://schemas.microsoft.com/office/drawing/2014/main" id="{0F8C89E2-5202-843F-332E-8C2CCFB25141}"/>
              </a:ext>
            </a:extLst>
          </p:cNvPr>
          <p:cNvSpPr>
            <a:spLocks noGrp="1"/>
          </p:cNvSpPr>
          <p:nvPr>
            <p:ph type="sldNum" sz="quarter" idx="12"/>
          </p:nvPr>
        </p:nvSpPr>
        <p:spPr>
          <a:xfrm>
            <a:off x="42637" y="6509791"/>
            <a:ext cx="473523" cy="276999"/>
          </a:xfrm>
          <a:prstGeom prst="rect">
            <a:avLst/>
          </a:prstGeom>
        </p:spPr>
        <p:txBody>
          <a:bodyPr wrap="square">
            <a:spAutoFit/>
          </a:bodyPr>
          <a:lstStyle>
            <a:lvl1pPr>
              <a:defRPr sz="1200">
                <a:solidFill>
                  <a:schemeClr val="bg1"/>
                </a:solidFill>
                <a:latin typeface="Arial" panose="020B0604020202020204" pitchFamily="34" charset="0"/>
                <a:cs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2">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85387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990523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9C914E-F376-DDA5-A474-8BD2D69FC604}"/>
              </a:ext>
            </a:extLst>
          </p:cNvPr>
          <p:cNvGraphicFramePr>
            <a:graphicFrameLocks noChangeAspect="1"/>
          </p:cNvGraphicFramePr>
          <p:nvPr userDrawn="1">
            <p:custDataLst>
              <p:tags r:id="rId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109C914E-F376-DDA5-A474-8BD2D69FC60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89560" y="413760"/>
            <a:ext cx="11612880" cy="914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74" r:id="rId1"/>
    <p:sldLayoutId id="2147483673" r:id="rId2"/>
    <p:sldLayoutId id="2147483675" r:id="rId3"/>
  </p:sldLayoutIdLst>
  <p:hf hdr="0" ftr="0" dt="0"/>
  <p:txStyles>
    <p:titleStyle>
      <a:lvl1pPr algn="l" defTabSz="914400" rtl="0" eaLnBrk="1" latinLnBrk="0" hangingPunct="1">
        <a:lnSpc>
          <a:spcPct val="90000"/>
        </a:lnSpc>
        <a:spcBef>
          <a:spcPct val="0"/>
        </a:spcBef>
        <a:buNone/>
        <a:defRPr sz="2400" b="1" kern="1200">
          <a:solidFill>
            <a:schemeClr val="tx2">
              <a:lumMod val="75000"/>
              <a:lumOff val="25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css.umich.edu/publications/factsheets/energy/us-renewable-energy-factsheet#:~:text=%2A%2082,2" TargetMode="External"/><Relationship Id="rId7" Type="http://schemas.openxmlformats.org/officeDocument/2006/relationships/hyperlink" Target="https://atb-archive.nrel.gov/electricity/2019/index.html?t=cg#:~:text=than%20their%20availability%20factor,have%20availability%20factors%20approaching%20100" TargetMode="External"/><Relationship Id="rId2" Type="http://schemas.openxmlformats.org/officeDocument/2006/relationships/hyperlink" Target="https://bcse.org/wp-content/uploads/2025/02/2025-Sustainable-Energy-in-America-Factbook.pdf#:~:text=%E2%97%8F%20Onshore%20wind%E2%80%99s%20benchmark%20LCOE,due%20to%20higher%20interest%20rates" TargetMode="External"/><Relationship Id="rId1" Type="http://schemas.openxmlformats.org/officeDocument/2006/relationships/slideLayout" Target="../slideLayouts/slideLayout2.xml"/><Relationship Id="rId6" Type="http://schemas.openxmlformats.org/officeDocument/2006/relationships/hyperlink" Target="https://en.wikipedia.org/wiki/Cost_of_electricity_by_source#:~:text=On%20average%20the%20levelized%20cost,fired%20power%20stations" TargetMode="External"/><Relationship Id="rId5" Type="http://schemas.openxmlformats.org/officeDocument/2006/relationships/hyperlink" Target="https://css.umich.edu/publications/factsheets/energy/nuclear-energy-factsheet#:~:text=,12" TargetMode="External"/><Relationship Id="rId4" Type="http://schemas.openxmlformats.org/officeDocument/2006/relationships/hyperlink" Target="https://www.eia.gov/todayinenergy/detail.php?id=48296#:~:text=When%20generating%20electricity%2C%20coal%20emits,2%7D%2FMWh"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stretch>
            <a:fillRect t="-9000" b="-9000"/>
          </a:stretch>
        </a:blipFill>
        <a:effectLst/>
      </p:bgPr>
    </p:bg>
    <p:spTree>
      <p:nvGrpSpPr>
        <p:cNvPr id="1" name="">
          <a:extLst>
            <a:ext uri="{FF2B5EF4-FFF2-40B4-BE49-F238E27FC236}">
              <a16:creationId xmlns:a16="http://schemas.microsoft.com/office/drawing/2014/main" id="{4AA51783-674C-380D-6304-582E9A123062}"/>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74A76257-4A76-05C5-53AF-EDB7B58243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7AE7C259-D023-DDAB-2EA8-F4AA031495D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85350164-15D8-24AE-7021-4856137DEF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92ACCBC0-9D25-4C7B-520F-D0AB605F7FB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23AF06F5-C764-749F-52F7-FABD87AFAA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56639182-7168-3578-95C6-D825997D4F9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2E52FB0E-5192-0A93-66F1-12289A2370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F3BE823D-F0DE-3DC8-D988-D945147C54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2CFF68D2-8DC0-D92B-8A6E-E414235480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6" name="Rectangle 5">
            <a:extLst>
              <a:ext uri="{FF2B5EF4-FFF2-40B4-BE49-F238E27FC236}">
                <a16:creationId xmlns:a16="http://schemas.microsoft.com/office/drawing/2014/main" id="{8099E983-114C-6520-4DB2-DD88258B8AF7}"/>
              </a:ext>
            </a:extLst>
          </p:cNvPr>
          <p:cNvSpPr/>
          <p:nvPr/>
        </p:nvSpPr>
        <p:spPr>
          <a:xfrm>
            <a:off x="1897014" y="1156398"/>
            <a:ext cx="8328672" cy="4404711"/>
          </a:xfrm>
          <a:prstGeom prst="rect">
            <a:avLst/>
          </a:prstGeom>
          <a:solidFill>
            <a:schemeClr val="tx2">
              <a:lumMod val="10000"/>
              <a:lumOff val="90000"/>
            </a:schemeClr>
          </a:solidFill>
          <a:ln>
            <a:solidFill>
              <a:schemeClr val="tx2">
                <a:lumMod val="10000"/>
                <a:lumOff val="90000"/>
              </a:schemeClr>
            </a:solidFill>
          </a:ln>
          <a:effectLst>
            <a:outerShdw blurRad="431800" dist="38100" dir="2700000">
              <a:srgbClr val="000000">
                <a:alpha val="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D81C34-CA22-7C2C-F469-2CC8DE65D94C}"/>
              </a:ext>
            </a:extLst>
          </p:cNvPr>
          <p:cNvSpPr>
            <a:spLocks noGrp="1"/>
          </p:cNvSpPr>
          <p:nvPr>
            <p:ph type="ctrTitle"/>
          </p:nvPr>
        </p:nvSpPr>
        <p:spPr>
          <a:xfrm>
            <a:off x="3000803" y="1353530"/>
            <a:ext cx="6198615" cy="2539971"/>
          </a:xfrm>
        </p:spPr>
        <p:txBody>
          <a:bodyPr vert="horz" lIns="91440" tIns="45720" rIns="91440" bIns="45720" rtlCol="0" anchor="ctr">
            <a:normAutofit/>
          </a:bodyPr>
          <a:lstStyle/>
          <a:p>
            <a:r>
              <a:rPr lang="en-US" sz="5400" kern="1200">
                <a:solidFill>
                  <a:schemeClr val="tx1"/>
                </a:solidFill>
                <a:latin typeface="Arial"/>
                <a:cs typeface="Arial"/>
              </a:rPr>
              <a:t>Optimizing the U.S. Energy Mix</a:t>
            </a:r>
          </a:p>
        </p:txBody>
      </p:sp>
      <p:sp>
        <p:nvSpPr>
          <p:cNvPr id="3" name="Subtitle 2">
            <a:extLst>
              <a:ext uri="{FF2B5EF4-FFF2-40B4-BE49-F238E27FC236}">
                <a16:creationId xmlns:a16="http://schemas.microsoft.com/office/drawing/2014/main" id="{61826DC7-0B32-3345-4567-D7A6604DBDE3}"/>
              </a:ext>
            </a:extLst>
          </p:cNvPr>
          <p:cNvSpPr>
            <a:spLocks noGrp="1"/>
          </p:cNvSpPr>
          <p:nvPr>
            <p:ph type="subTitle" idx="1"/>
          </p:nvPr>
        </p:nvSpPr>
        <p:spPr>
          <a:xfrm>
            <a:off x="1551666" y="3270076"/>
            <a:ext cx="9064519" cy="2401427"/>
          </a:xfrm>
        </p:spPr>
        <p:txBody>
          <a:bodyPr vert="horz" lIns="91440" tIns="45720" rIns="91440" bIns="45720" rtlCol="0" anchor="ctr">
            <a:normAutofit/>
          </a:bodyPr>
          <a:lstStyle/>
          <a:p>
            <a:r>
              <a:rPr lang="en-US" sz="2800">
                <a:latin typeface="+mn-lt"/>
                <a:cs typeface="+mn-cs"/>
              </a:rPr>
              <a:t>Multi-Objective Decision Model</a:t>
            </a:r>
            <a:endParaRPr lang="en-US" sz="2800"/>
          </a:p>
          <a:p>
            <a:endParaRPr lang="en-US" sz="1800">
              <a:latin typeface="+mn-lt"/>
              <a:cs typeface="+mn-cs"/>
            </a:endParaRPr>
          </a:p>
          <a:p>
            <a:endParaRPr lang="en-US" sz="1800" i="1">
              <a:latin typeface="+mn-lt"/>
              <a:cs typeface="+mn-cs"/>
            </a:endParaRPr>
          </a:p>
          <a:p>
            <a:r>
              <a:rPr lang="en-US" sz="1800" i="1">
                <a:latin typeface="+mn-lt"/>
                <a:cs typeface="+mn-cs"/>
              </a:rPr>
              <a:t>BQOM 2512: Advanced Decision Technology</a:t>
            </a:r>
            <a:endParaRPr lang="en-US" i="1">
              <a:cs typeface="Arial"/>
            </a:endParaRPr>
          </a:p>
          <a:p>
            <a:pPr>
              <a:spcBef>
                <a:spcPts val="0"/>
              </a:spcBef>
            </a:pPr>
            <a:r>
              <a:rPr lang="en-US" sz="1800" i="1">
                <a:latin typeface="+mn-lt"/>
                <a:cs typeface="+mn-cs"/>
              </a:rPr>
              <a:t>Prof – Elena Rokou</a:t>
            </a:r>
          </a:p>
        </p:txBody>
      </p:sp>
    </p:spTree>
    <p:extLst>
      <p:ext uri="{BB962C8B-B14F-4D97-AF65-F5344CB8AC3E}">
        <p14:creationId xmlns:p14="http://schemas.microsoft.com/office/powerpoint/2010/main" val="576765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5F2C6A6-B52E-3506-FAE1-A49A8251A28B}"/>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E6A52589-3DDE-9F56-DCCB-F826E9041A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83A23895-1059-67D3-8FD7-CD371F2C2E5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D24821FC-CE8E-3F2F-74C1-162B7960805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148E882D-CAF7-F1BF-3FEC-0A1DE845426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F582D52E-8A2D-8271-7AE9-161C8BE2ADD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92969D17-7536-B9B5-AC3A-EBEB75A5A4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B95DA998-24C8-90B5-8A8C-579B1775F66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7E473371-0234-A60E-730B-41537565C43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5BC8BF1B-2C49-5F63-7D37-9726515148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C0257CA8-F355-F067-C5EA-35834B315E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DB3011A1-D080-BE74-717C-06079BD835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DF137213-A6AA-E631-2567-25ABE5A7742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2C620207-D1D8-A003-5531-2D0FE19F19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87EE129D-FAA0-DC4C-45AB-701BFF887CE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4171A528-636C-F888-1058-A77B7E599CE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B463CA1A-1B6D-997B-18C9-0F033A375000}"/>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Pareto: Trade-off Analysis</a:t>
            </a:r>
            <a:endParaRPr lang="en-US">
              <a:solidFill>
                <a:schemeClr val="tx1"/>
              </a:solidFill>
            </a:endParaRPr>
          </a:p>
        </p:txBody>
      </p:sp>
      <p:cxnSp>
        <p:nvCxnSpPr>
          <p:cNvPr id="5" name="Straight Connector 4">
            <a:extLst>
              <a:ext uri="{FF2B5EF4-FFF2-40B4-BE49-F238E27FC236}">
                <a16:creationId xmlns:a16="http://schemas.microsoft.com/office/drawing/2014/main" id="{CA524D76-2F78-804F-A5B9-4F813D13960F}"/>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EEDDAF02-7937-F7B7-B5BB-F349B4521C2E}"/>
              </a:ext>
            </a:extLst>
          </p:cNvPr>
          <p:cNvPicPr>
            <a:picLocks noChangeAspect="1"/>
          </p:cNvPicPr>
          <p:nvPr/>
        </p:nvPicPr>
        <p:blipFill>
          <a:blip r:embed="rId3"/>
          <a:srcRect l="10583" r="-216" b="3678"/>
          <a:stretch/>
        </p:blipFill>
        <p:spPr>
          <a:xfrm>
            <a:off x="8144863" y="2783739"/>
            <a:ext cx="2896840" cy="2919253"/>
          </a:xfrm>
          <a:prstGeom prst="rect">
            <a:avLst/>
          </a:prstGeom>
        </p:spPr>
      </p:pic>
      <p:pic>
        <p:nvPicPr>
          <p:cNvPr id="4" name="Picture 3" descr="A graph with a line going up&#10;&#10;AI-generated content may be incorrect.">
            <a:extLst>
              <a:ext uri="{FF2B5EF4-FFF2-40B4-BE49-F238E27FC236}">
                <a16:creationId xmlns:a16="http://schemas.microsoft.com/office/drawing/2014/main" id="{60FE0FDF-E7B4-5047-DC60-2A48CD2FF33E}"/>
              </a:ext>
            </a:extLst>
          </p:cNvPr>
          <p:cNvPicPr>
            <a:picLocks noChangeAspect="1"/>
          </p:cNvPicPr>
          <p:nvPr/>
        </p:nvPicPr>
        <p:blipFill>
          <a:blip r:embed="rId4"/>
          <a:stretch>
            <a:fillRect/>
          </a:stretch>
        </p:blipFill>
        <p:spPr>
          <a:xfrm>
            <a:off x="1084505" y="2643840"/>
            <a:ext cx="6573694" cy="3204670"/>
          </a:xfrm>
          <a:prstGeom prst="rect">
            <a:avLst/>
          </a:prstGeom>
        </p:spPr>
      </p:pic>
      <p:sp>
        <p:nvSpPr>
          <p:cNvPr id="8" name="TextBox 7">
            <a:extLst>
              <a:ext uri="{FF2B5EF4-FFF2-40B4-BE49-F238E27FC236}">
                <a16:creationId xmlns:a16="http://schemas.microsoft.com/office/drawing/2014/main" id="{E24ECF1E-54FE-42FB-08CC-BFC6D66576C0}"/>
              </a:ext>
            </a:extLst>
          </p:cNvPr>
          <p:cNvSpPr txBox="1"/>
          <p:nvPr/>
        </p:nvSpPr>
        <p:spPr>
          <a:xfrm>
            <a:off x="1226128" y="1454727"/>
            <a:ext cx="10203871"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Sans-Serif"/>
              <a:buChar char="•"/>
            </a:pPr>
            <a:endParaRPr lang="en-US" sz="1600">
              <a:latin typeface="Arial"/>
              <a:cs typeface="Arial"/>
            </a:endParaRPr>
          </a:p>
          <a:p>
            <a:pPr marL="228600" indent="-228600">
              <a:buFont typeface="Arial,Sans-Serif"/>
              <a:buChar char="•"/>
            </a:pPr>
            <a:r>
              <a:rPr lang="en-US" sz="2000">
                <a:cs typeface="Arial"/>
              </a:rPr>
              <a:t>For each point, we solve the model again using</a:t>
            </a:r>
            <a:r>
              <a:rPr lang="en-US" sz="2000" b="1">
                <a:cs typeface="Arial"/>
              </a:rPr>
              <a:t> constraint adjustment</a:t>
            </a:r>
            <a:r>
              <a:rPr lang="en-US" sz="2000">
                <a:cs typeface="Arial"/>
              </a:rPr>
              <a:t>, generating a set of </a:t>
            </a:r>
            <a:r>
              <a:rPr lang="en-US" sz="2000" b="1">
                <a:cs typeface="Arial"/>
              </a:rPr>
              <a:t>non-dominated solutions</a:t>
            </a:r>
            <a:r>
              <a:rPr lang="en-US" sz="2000">
                <a:cs typeface="Arial"/>
              </a:rPr>
              <a:t>​</a:t>
            </a:r>
          </a:p>
        </p:txBody>
      </p:sp>
      <p:sp>
        <p:nvSpPr>
          <p:cNvPr id="9" name="Oval 8">
            <a:extLst>
              <a:ext uri="{FF2B5EF4-FFF2-40B4-BE49-F238E27FC236}">
                <a16:creationId xmlns:a16="http://schemas.microsoft.com/office/drawing/2014/main" id="{86E436DD-FBD8-A52D-876E-94978F28FEAE}"/>
              </a:ext>
            </a:extLst>
          </p:cNvPr>
          <p:cNvSpPr/>
          <p:nvPr/>
        </p:nvSpPr>
        <p:spPr>
          <a:xfrm>
            <a:off x="6713799" y="2861841"/>
            <a:ext cx="96696" cy="102886"/>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6C4A776-6C3C-5ACF-5DCD-BEC9F6A28C3B}"/>
              </a:ext>
            </a:extLst>
          </p:cNvPr>
          <p:cNvSpPr/>
          <p:nvPr/>
        </p:nvSpPr>
        <p:spPr>
          <a:xfrm>
            <a:off x="8148925" y="5357226"/>
            <a:ext cx="2814030" cy="35057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6946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985943C-0E23-94A8-BF43-C3287224090F}"/>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AD688BF9-7D2E-D8B8-FF76-B151887D41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DEEE6E77-324A-B377-E538-C7F598D1510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FE85C7A8-8F44-8AB7-CE9D-C4A51A2CC0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98C6B21F-5FB9-3614-DC0B-30831312B7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AD2AEE9A-8BFA-56EC-E223-93277483D42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DC0F4E7D-9680-94F3-9D88-8E8CB6922FC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75656D3B-16D1-B60E-523B-7AF961AA89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ACF8CF24-95BE-7FAB-B4C3-E0430E295BB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9606A6A2-0F3D-D0C8-5A9D-2EA333A64CF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DB13390F-FB3D-2BEB-1A3F-04D18E15D0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0CD55EE9-BC6C-4193-0F38-EF3CAC90F5B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A162C6DA-ECD0-66CD-B147-5B3A489AAE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B64EFCCA-6AC9-6464-AFBD-EB91E8C2F3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E0AB7751-BA7D-998F-A6F7-0C168078E48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86ED1C1D-681E-0020-A940-B490008B32B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4776F19C-1E85-12AF-AE51-B0FC68B3A124}"/>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Recommendations</a:t>
            </a:r>
            <a:endParaRPr lang="en-US" sz="2700">
              <a:solidFill>
                <a:schemeClr val="tx1"/>
              </a:solidFill>
            </a:endParaRPr>
          </a:p>
        </p:txBody>
      </p:sp>
      <p:cxnSp>
        <p:nvCxnSpPr>
          <p:cNvPr id="5" name="Straight Connector 4">
            <a:extLst>
              <a:ext uri="{FF2B5EF4-FFF2-40B4-BE49-F238E27FC236}">
                <a16:creationId xmlns:a16="http://schemas.microsoft.com/office/drawing/2014/main" id="{C688151B-9501-C932-C846-B1A09215EFC7}"/>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graphicFrame>
        <p:nvGraphicFramePr>
          <p:cNvPr id="3" name="Table 2">
            <a:extLst>
              <a:ext uri="{FF2B5EF4-FFF2-40B4-BE49-F238E27FC236}">
                <a16:creationId xmlns:a16="http://schemas.microsoft.com/office/drawing/2014/main" id="{05A0B7A8-8149-116A-94F4-D711341F73C0}"/>
              </a:ext>
            </a:extLst>
          </p:cNvPr>
          <p:cNvGraphicFramePr>
            <a:graphicFrameLocks noGrp="1"/>
          </p:cNvGraphicFramePr>
          <p:nvPr>
            <p:extLst>
              <p:ext uri="{D42A27DB-BD31-4B8C-83A1-F6EECF244321}">
                <p14:modId xmlns:p14="http://schemas.microsoft.com/office/powerpoint/2010/main" val="2355100255"/>
              </p:ext>
            </p:extLst>
          </p:nvPr>
        </p:nvGraphicFramePr>
        <p:xfrm>
          <a:off x="876034" y="3178584"/>
          <a:ext cx="10444608" cy="2676278"/>
        </p:xfrm>
        <a:graphic>
          <a:graphicData uri="http://schemas.openxmlformats.org/drawingml/2006/table">
            <a:tbl>
              <a:tblPr firstRow="1" bandRow="1">
                <a:tableStyleId>{5C22544A-7EE6-4342-B048-85BDC9FD1C3A}</a:tableStyleId>
              </a:tblPr>
              <a:tblGrid>
                <a:gridCol w="5222304">
                  <a:extLst>
                    <a:ext uri="{9D8B030D-6E8A-4147-A177-3AD203B41FA5}">
                      <a16:colId xmlns:a16="http://schemas.microsoft.com/office/drawing/2014/main" val="2707719305"/>
                    </a:ext>
                  </a:extLst>
                </a:gridCol>
                <a:gridCol w="5222304">
                  <a:extLst>
                    <a:ext uri="{9D8B030D-6E8A-4147-A177-3AD203B41FA5}">
                      <a16:colId xmlns:a16="http://schemas.microsoft.com/office/drawing/2014/main" val="3483399060"/>
                    </a:ext>
                  </a:extLst>
                </a:gridCol>
              </a:tblGrid>
              <a:tr h="433550">
                <a:tc>
                  <a:txBody>
                    <a:bodyPr/>
                    <a:lstStyle/>
                    <a:p>
                      <a:r>
                        <a:rPr lang="en-US"/>
                        <a:t>Problems</a:t>
                      </a:r>
                    </a:p>
                  </a:txBody>
                  <a:tcPr/>
                </a:tc>
                <a:tc>
                  <a:txBody>
                    <a:bodyPr/>
                    <a:lstStyle/>
                    <a:p>
                      <a:pPr lvl="0">
                        <a:buNone/>
                      </a:pPr>
                      <a:r>
                        <a:rPr lang="en-US" sz="1800" b="1" i="0" u="none" strike="noStrike" noProof="0">
                          <a:solidFill>
                            <a:srgbClr val="FFFFFF"/>
                          </a:solidFill>
                          <a:latin typeface="Aptos"/>
                        </a:rPr>
                        <a:t>Recommendations</a:t>
                      </a:r>
                      <a:endParaRPr lang="en-US"/>
                    </a:p>
                  </a:txBody>
                  <a:tcPr/>
                </a:tc>
                <a:extLst>
                  <a:ext uri="{0D108BD9-81ED-4DB2-BD59-A6C34878D82A}">
                    <a16:rowId xmlns:a16="http://schemas.microsoft.com/office/drawing/2014/main" val="1048094499"/>
                  </a:ext>
                </a:extLst>
              </a:tr>
              <a:tr h="664164">
                <a:tc>
                  <a:txBody>
                    <a:bodyPr/>
                    <a:lstStyle/>
                    <a:p>
                      <a:pPr lvl="0">
                        <a:buNone/>
                      </a:pPr>
                      <a:r>
                        <a:rPr lang="en-US" sz="1800" b="0" i="0" u="none" strike="noStrike" noProof="0">
                          <a:latin typeface="Aptos"/>
                        </a:rPr>
                        <a:t>Current 100 t CO₂ cap holds fleet reliability at ~66 %, well below the 90 % target.</a:t>
                      </a:r>
                      <a:endParaRPr lang="en-US" sz="1800" b="0" i="0" u="none" strike="noStrike" noProof="0"/>
                    </a:p>
                  </a:txBody>
                  <a:tcPr/>
                </a:tc>
                <a:tc>
                  <a:txBody>
                    <a:bodyPr/>
                    <a:lstStyle/>
                    <a:p>
                      <a:pPr lvl="0">
                        <a:buNone/>
                      </a:pPr>
                      <a:r>
                        <a:rPr lang="en-US" sz="1800" b="0" i="0" u="none" strike="noStrike" noProof="0">
                          <a:solidFill>
                            <a:srgbClr val="000000"/>
                          </a:solidFill>
                        </a:rPr>
                        <a:t>Raise the CO₂ cap to enable greater fossil fuel use, boosting firm generation and improving reliability.</a:t>
                      </a:r>
                      <a:endParaRPr lang="en-US" sz="1800" b="0" i="0" u="none" strike="noStrike" noProof="0">
                        <a:solidFill>
                          <a:srgbClr val="000000"/>
                        </a:solidFill>
                        <a:latin typeface="Aptos"/>
                      </a:endParaRPr>
                    </a:p>
                  </a:txBody>
                  <a:tcPr/>
                </a:tc>
                <a:extLst>
                  <a:ext uri="{0D108BD9-81ED-4DB2-BD59-A6C34878D82A}">
                    <a16:rowId xmlns:a16="http://schemas.microsoft.com/office/drawing/2014/main" val="4180136945"/>
                  </a:ext>
                </a:extLst>
              </a:tr>
              <a:tr h="664164">
                <a:tc>
                  <a:txBody>
                    <a:bodyPr/>
                    <a:lstStyle/>
                    <a:p>
                      <a:pPr lvl="0">
                        <a:buNone/>
                      </a:pPr>
                      <a:r>
                        <a:rPr lang="en-US" sz="1800" b="0" i="0" u="none" strike="noStrike" noProof="0"/>
                        <a:t>Baseload gap: existing 300 MWh nuclear ceiling limits zero‑carbon, high‑reliability supply.</a:t>
                      </a:r>
                      <a:endParaRPr lang="en-US" sz="1800"/>
                    </a:p>
                  </a:txBody>
                  <a:tcPr/>
                </a:tc>
                <a:tc>
                  <a:txBody>
                    <a:bodyPr/>
                    <a:lstStyle/>
                    <a:p>
                      <a:pPr lvl="0">
                        <a:buNone/>
                      </a:pPr>
                      <a:r>
                        <a:rPr lang="en-US" sz="1800" b="0" i="0" u="none" strike="noStrike" noProof="0">
                          <a:solidFill>
                            <a:srgbClr val="000000"/>
                          </a:solidFill>
                        </a:rPr>
                        <a:t>Invest in nuclear generation, raising the maximum generation limit.</a:t>
                      </a:r>
                      <a:endParaRPr lang="en-US" sz="1800"/>
                    </a:p>
                  </a:txBody>
                  <a:tcPr/>
                </a:tc>
                <a:extLst>
                  <a:ext uri="{0D108BD9-81ED-4DB2-BD59-A6C34878D82A}">
                    <a16:rowId xmlns:a16="http://schemas.microsoft.com/office/drawing/2014/main" val="2082475839"/>
                  </a:ext>
                </a:extLst>
              </a:tr>
              <a:tr h="664164">
                <a:tc>
                  <a:txBody>
                    <a:bodyPr/>
                    <a:lstStyle/>
                    <a:p>
                      <a:pPr lvl="0">
                        <a:buNone/>
                      </a:pPr>
                      <a:r>
                        <a:rPr lang="en-US" sz="1800" b="0" i="0" u="none" strike="noStrike" noProof="0"/>
                        <a:t>Reliability penalty for staying under the cap: grid lacks clean‑firm resources that can replace fossil </a:t>
                      </a:r>
                      <a:r>
                        <a:rPr lang="en-US" sz="1800" b="0" i="0" u="none" strike="noStrike" noProof="0" err="1"/>
                        <a:t>peakers</a:t>
                      </a:r>
                      <a:r>
                        <a:rPr lang="en-US" sz="1800" b="0" i="0" u="none" strike="noStrike" noProof="0"/>
                        <a:t>.</a:t>
                      </a:r>
                      <a:endParaRPr lang="en-US" sz="1800"/>
                    </a:p>
                  </a:txBody>
                  <a:tcPr/>
                </a:tc>
                <a:tc>
                  <a:txBody>
                    <a:bodyPr/>
                    <a:lstStyle/>
                    <a:p>
                      <a:pPr lvl="0">
                        <a:buNone/>
                      </a:pPr>
                      <a:r>
                        <a:rPr lang="en-US" sz="1800" b="0" i="0" u="none" strike="noStrike" noProof="0">
                          <a:solidFill>
                            <a:srgbClr val="000000"/>
                          </a:solidFill>
                          <a:latin typeface="Aptos"/>
                        </a:rPr>
                        <a:t>Invest in complementary “clean‑firm” solutions: long‑duration storage and demand response.</a:t>
                      </a:r>
                      <a:endParaRPr lang="en-US" sz="1800">
                        <a:solidFill>
                          <a:srgbClr val="000000"/>
                        </a:solidFill>
                      </a:endParaRPr>
                    </a:p>
                  </a:txBody>
                  <a:tcPr/>
                </a:tc>
                <a:extLst>
                  <a:ext uri="{0D108BD9-81ED-4DB2-BD59-A6C34878D82A}">
                    <a16:rowId xmlns:a16="http://schemas.microsoft.com/office/drawing/2014/main" val="371816956"/>
                  </a:ext>
                </a:extLst>
              </a:tr>
            </a:tbl>
          </a:graphicData>
        </a:graphic>
      </p:graphicFrame>
      <p:pic>
        <p:nvPicPr>
          <p:cNvPr id="4" name="Graphic 3" descr="Electric Tower with solid fill">
            <a:extLst>
              <a:ext uri="{FF2B5EF4-FFF2-40B4-BE49-F238E27FC236}">
                <a16:creationId xmlns:a16="http://schemas.microsoft.com/office/drawing/2014/main" id="{82FFBE4B-D680-A121-BFF4-D2EB13DC9B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2366" y="1719195"/>
            <a:ext cx="455364" cy="446184"/>
          </a:xfrm>
          <a:prstGeom prst="rect">
            <a:avLst/>
          </a:prstGeom>
        </p:spPr>
      </p:pic>
      <p:sp>
        <p:nvSpPr>
          <p:cNvPr id="7" name="TextBox 6">
            <a:extLst>
              <a:ext uri="{FF2B5EF4-FFF2-40B4-BE49-F238E27FC236}">
                <a16:creationId xmlns:a16="http://schemas.microsoft.com/office/drawing/2014/main" id="{8FD20A29-673B-166B-56A3-7BEA3169AA1F}"/>
              </a:ext>
            </a:extLst>
          </p:cNvPr>
          <p:cNvSpPr txBox="1"/>
          <p:nvPr/>
        </p:nvSpPr>
        <p:spPr>
          <a:xfrm>
            <a:off x="1354648" y="1646892"/>
            <a:ext cx="994385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rPr>
              <a:t>When reliability drops below 90%, it’s not just a number. It means blackouts, disruptions, and real-world consequences for families, hospitals, and businesses.</a:t>
            </a:r>
            <a:endParaRPr lang="en-US">
              <a:ea typeface="+mn-lt"/>
              <a:cs typeface="+mn-lt"/>
            </a:endParaRPr>
          </a:p>
        </p:txBody>
      </p:sp>
      <p:pic>
        <p:nvPicPr>
          <p:cNvPr id="14" name="Graphic 13" descr="Electric Tower with solid fill">
            <a:extLst>
              <a:ext uri="{FF2B5EF4-FFF2-40B4-BE49-F238E27FC236}">
                <a16:creationId xmlns:a16="http://schemas.microsoft.com/office/drawing/2014/main" id="{646EC832-5D57-F6A6-EA17-C852576B17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2366" y="2407749"/>
            <a:ext cx="455364" cy="446184"/>
          </a:xfrm>
          <a:prstGeom prst="rect">
            <a:avLst/>
          </a:prstGeom>
        </p:spPr>
      </p:pic>
      <p:sp>
        <p:nvSpPr>
          <p:cNvPr id="15" name="TextBox 14">
            <a:extLst>
              <a:ext uri="{FF2B5EF4-FFF2-40B4-BE49-F238E27FC236}">
                <a16:creationId xmlns:a16="http://schemas.microsoft.com/office/drawing/2014/main" id="{DEF4C912-39CD-CEFD-1906-C4E48E543E4F}"/>
              </a:ext>
            </a:extLst>
          </p:cNvPr>
          <p:cNvSpPr txBox="1"/>
          <p:nvPr/>
        </p:nvSpPr>
        <p:spPr>
          <a:xfrm>
            <a:off x="1354648" y="2335446"/>
            <a:ext cx="994385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rPr>
              <a:t>To build a grid that’s both resilient and responsible, we must rethink limits, unlock cleaner firm power, and adapt our planning in real time.</a:t>
            </a:r>
            <a:endParaRPr lang="en-US">
              <a:ea typeface="+mn-lt"/>
              <a:cs typeface="+mn-lt"/>
            </a:endParaRPr>
          </a:p>
        </p:txBody>
      </p:sp>
    </p:spTree>
    <p:extLst>
      <p:ext uri="{BB962C8B-B14F-4D97-AF65-F5344CB8AC3E}">
        <p14:creationId xmlns:p14="http://schemas.microsoft.com/office/powerpoint/2010/main" val="1939484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357B0F0-A60E-5A61-39FD-0E42DCD5F7CA}"/>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D24F0CCE-FDDE-64B5-428C-540D52B8D0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8492346D-24AD-80DC-4DAB-C8EFD7DF7F9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5895F18B-18F8-4C6A-9E04-042E08EC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41896AF3-288C-E71D-A05B-1363F99537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E9ABD711-F8AA-94AD-6B1B-9F16A06CC98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2891F4F4-EF29-2E7B-E3D7-15D9DEDECE5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FB59FDB2-3726-6E3E-B722-220B4DFF75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grpSp>
      <p:grpSp>
        <p:nvGrpSpPr>
          <p:cNvPr id="34" name="Group 33">
            <a:extLst>
              <a:ext uri="{FF2B5EF4-FFF2-40B4-BE49-F238E27FC236}">
                <a16:creationId xmlns:a16="http://schemas.microsoft.com/office/drawing/2014/main" id="{DBFC95CF-DC9E-7514-12C8-E4C283A7406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21A38965-74AD-EE4D-2034-F934B04CFD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A41A6A3F-48C6-82F4-6840-C5EBE9C143E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62E6214A-FFD3-00C5-34EE-6FEE983915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832DD4B0-1BCB-CCEE-0D18-63C2D2F8D11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7A4922C5-C04C-8536-517F-676311020F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E85D2E02-AFCB-3338-46F9-3EF011B4D02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5692970C-4DF4-E1C0-90AB-63EA0D958EB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F6A0BBF1-25A2-58FD-4341-BAD9375E321A}"/>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Next Steps</a:t>
            </a:r>
            <a:endParaRPr lang="en-US" sz="2700">
              <a:solidFill>
                <a:schemeClr val="tx1"/>
              </a:solidFill>
            </a:endParaRPr>
          </a:p>
        </p:txBody>
      </p:sp>
      <p:cxnSp>
        <p:nvCxnSpPr>
          <p:cNvPr id="5" name="Straight Connector 4">
            <a:extLst>
              <a:ext uri="{FF2B5EF4-FFF2-40B4-BE49-F238E27FC236}">
                <a16:creationId xmlns:a16="http://schemas.microsoft.com/office/drawing/2014/main" id="{6A3DAA4A-7E8A-ABCB-FA99-4336D288412E}"/>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graphicFrame>
        <p:nvGraphicFramePr>
          <p:cNvPr id="620" name="Diagram 619">
            <a:extLst>
              <a:ext uri="{FF2B5EF4-FFF2-40B4-BE49-F238E27FC236}">
                <a16:creationId xmlns:a16="http://schemas.microsoft.com/office/drawing/2014/main" id="{D48FE9C9-4161-81DB-E106-D46E563527E0}"/>
              </a:ext>
            </a:extLst>
          </p:cNvPr>
          <p:cNvGraphicFramePr/>
          <p:nvPr>
            <p:extLst>
              <p:ext uri="{D42A27DB-BD31-4B8C-83A1-F6EECF244321}">
                <p14:modId xmlns:p14="http://schemas.microsoft.com/office/powerpoint/2010/main" val="867452252"/>
              </p:ext>
            </p:extLst>
          </p:nvPr>
        </p:nvGraphicFramePr>
        <p:xfrm>
          <a:off x="892343" y="1149016"/>
          <a:ext cx="10417341" cy="2294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6" name="TextBox 755">
            <a:extLst>
              <a:ext uri="{FF2B5EF4-FFF2-40B4-BE49-F238E27FC236}">
                <a16:creationId xmlns:a16="http://schemas.microsoft.com/office/drawing/2014/main" id="{542DECFF-C9F9-C76A-EA87-414ACE902E07}"/>
              </a:ext>
            </a:extLst>
          </p:cNvPr>
          <p:cNvSpPr txBox="1"/>
          <p:nvPr/>
        </p:nvSpPr>
        <p:spPr>
          <a:xfrm>
            <a:off x="892230" y="3220823"/>
            <a:ext cx="10420531"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b="1">
                <a:latin typeface="Aptos"/>
                <a:ea typeface="+mn-lt"/>
                <a:cs typeface="+mn-lt"/>
              </a:rPr>
              <a:t> </a:t>
            </a:r>
            <a:r>
              <a:rPr lang="en-US" sz="1600" b="1">
                <a:ea typeface="+mn-lt"/>
                <a:cs typeface="+mn-lt"/>
              </a:rPr>
              <a:t>Policy Analysis → CO₂ Cap Adjustment:</a:t>
            </a:r>
            <a:r>
              <a:rPr lang="en-US" sz="1600">
                <a:ea typeface="+mn-lt"/>
                <a:cs typeface="+mn-lt"/>
              </a:rPr>
              <a:t> Reassess the 100 t CO₂ cap based on system reliability needs; explore how raising the cap could enable limited fossil generation to prevent blackouts.</a:t>
            </a:r>
          </a:p>
          <a:p>
            <a:endParaRPr lang="en-US" sz="1600">
              <a:ea typeface="+mn-lt"/>
              <a:cs typeface="+mn-lt"/>
            </a:endParaRPr>
          </a:p>
          <a:p>
            <a:pPr marL="285750" indent="-285750">
              <a:buFont typeface="Arial"/>
              <a:buChar char="•"/>
            </a:pPr>
            <a:r>
              <a:rPr lang="en-US" sz="1600" b="1">
                <a:ea typeface="+mn-lt"/>
                <a:cs typeface="+mn-lt"/>
              </a:rPr>
              <a:t>Nuclear Roadmap:</a:t>
            </a:r>
            <a:r>
              <a:rPr lang="en-US" sz="1600">
                <a:ea typeface="+mn-lt"/>
                <a:cs typeface="+mn-lt"/>
              </a:rPr>
              <a:t> Evaluate options to raise the 300 MWh nuclear ceiling via uprates or SMR deployment to expand carbon-free, high-reliability baseload.</a:t>
            </a:r>
            <a:endParaRPr lang="en-US" sz="1600">
              <a:latin typeface="Aptos"/>
              <a:ea typeface="+mn-lt"/>
              <a:cs typeface="+mn-lt"/>
            </a:endParaRPr>
          </a:p>
          <a:p>
            <a:endParaRPr lang="en-US" sz="1600">
              <a:ea typeface="+mn-lt"/>
              <a:cs typeface="+mn-lt"/>
            </a:endParaRPr>
          </a:p>
          <a:p>
            <a:pPr marL="285750" indent="-285750">
              <a:buFont typeface="Arial"/>
              <a:buChar char="•"/>
            </a:pPr>
            <a:r>
              <a:rPr lang="en-US" sz="1600" b="1">
                <a:ea typeface="+mn-lt"/>
                <a:cs typeface="+mn-lt"/>
              </a:rPr>
              <a:t> Expanded ESG Scorecard → Clean-Firm Pilots:</a:t>
            </a:r>
            <a:r>
              <a:rPr lang="en-US" sz="1600">
                <a:ea typeface="+mn-lt"/>
                <a:cs typeface="+mn-lt"/>
              </a:rPr>
              <a:t> Integrate broader sustainability metrics (land, water, waste, jobs); launch long-duration storage and demand-response pilots to increase reliability without added emissions.</a:t>
            </a:r>
            <a:endParaRPr lang="en-US" sz="1600">
              <a:latin typeface="Arial"/>
              <a:ea typeface="+mn-lt"/>
              <a:cs typeface="+mn-lt"/>
            </a:endParaRPr>
          </a:p>
          <a:p>
            <a:pPr marL="285750" indent="-285750">
              <a:buFont typeface="Arial"/>
              <a:buChar char="•"/>
            </a:pPr>
            <a:endParaRPr lang="en-US" sz="1600">
              <a:ea typeface="+mn-lt"/>
              <a:cs typeface="+mn-lt"/>
            </a:endParaRPr>
          </a:p>
          <a:p>
            <a:pPr marL="285750" indent="-285750">
              <a:buFont typeface="Arial"/>
              <a:buChar char="•"/>
            </a:pPr>
            <a:r>
              <a:rPr lang="en-US" sz="1600" b="1">
                <a:ea typeface="+mn-lt"/>
                <a:cs typeface="+mn-lt"/>
              </a:rPr>
              <a:t>Tool Roll-out:</a:t>
            </a:r>
            <a:r>
              <a:rPr lang="en-US" sz="1600">
                <a:ea typeface="+mn-lt"/>
                <a:cs typeface="+mn-lt"/>
              </a:rPr>
              <a:t> Launch a cloud-based tool that helps DOE and EIA teams re-optimize the generation plan every quarter—adjusting to real-world shifts in prices, emissions limits, and available technologies.</a:t>
            </a:r>
            <a:endParaRPr lang="en-US" sz="1600">
              <a:latin typeface="Aptos"/>
              <a:ea typeface="+mn-lt"/>
              <a:cs typeface="+mn-lt"/>
            </a:endParaRPr>
          </a:p>
        </p:txBody>
      </p:sp>
    </p:spTree>
    <p:extLst>
      <p:ext uri="{BB962C8B-B14F-4D97-AF65-F5344CB8AC3E}">
        <p14:creationId xmlns:p14="http://schemas.microsoft.com/office/powerpoint/2010/main" val="39587989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4D583DE-589A-E7AB-9FE5-B7B836377C74}"/>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A272CADD-12DD-D15A-76CA-CF616E1B9C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393F7203-9741-707C-E4C0-4B2CBFAC84C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8FD42C2A-DF48-F2E2-2687-E379F3ABFB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82F92046-F637-FB6D-DAE4-3BB62C7835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13E3E23B-014D-B628-74C6-06EFEF9D1BB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6D1F6B8E-3F72-40D6-0C6A-231E673095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650078FE-6618-8251-6A76-758B99CE48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D94B782A-A628-BEE9-7BAA-607387C10F6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17722AA0-FDDD-9208-D588-843B855635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48585626-CBD5-972C-1E84-8477B36889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47481C02-BAEF-8244-DCC7-96DAEE2669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C9CAB2D4-ADDE-DCD0-0DA9-B7C24C6E9F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412B7FC7-EDFA-C53E-36FF-BE8B003EA900}"/>
              </a:ext>
            </a:extLst>
          </p:cNvPr>
          <p:cNvSpPr>
            <a:spLocks noGrp="1"/>
          </p:cNvSpPr>
          <p:nvPr>
            <p:ph type="ctrTitle"/>
          </p:nvPr>
        </p:nvSpPr>
        <p:spPr>
          <a:xfrm>
            <a:off x="882892" y="602737"/>
            <a:ext cx="10423232" cy="5744853"/>
          </a:xfrm>
        </p:spPr>
        <p:txBody>
          <a:bodyPr vert="horz" lIns="91440" tIns="45720" rIns="91440" bIns="45720" rtlCol="0" anchor="ctr">
            <a:normAutofit/>
          </a:bodyPr>
          <a:lstStyle/>
          <a:p>
            <a:pPr algn="l"/>
            <a:r>
              <a:rPr lang="en-US" sz="4000">
                <a:solidFill>
                  <a:schemeClr val="tx1"/>
                </a:solidFill>
                <a:latin typeface="Arial"/>
                <a:cs typeface="Arial"/>
              </a:rPr>
              <a:t>Questions</a:t>
            </a:r>
            <a:endParaRPr lang="en-US" sz="2700">
              <a:solidFill>
                <a:schemeClr val="tx1"/>
              </a:solidFill>
            </a:endParaRPr>
          </a:p>
        </p:txBody>
      </p:sp>
      <p:sp>
        <p:nvSpPr>
          <p:cNvPr id="4" name="Color">
            <a:extLst>
              <a:ext uri="{FF2B5EF4-FFF2-40B4-BE49-F238E27FC236}">
                <a16:creationId xmlns:a16="http://schemas.microsoft.com/office/drawing/2014/main" id="{166F2BB1-0DCC-48C1-8863-9D0A49EA3C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105867" y="4348"/>
            <a:ext cx="5073590" cy="684615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158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C625BA7-3F4D-9381-A746-5192F7D96B75}"/>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9B878CD3-CBEF-0D95-A17D-B2F153346E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BBD2DE62-DB66-186F-AE73-B29C48BBEEC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DAA2A355-8A88-C525-71F6-AE1BDCD85B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2BDD694D-0A9D-AD0F-6323-F7D7D9CE31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41BC9EC5-E5DC-82C2-7715-FFE78E2BA98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FF264041-2359-14A2-2DA9-30F185D8F5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49C2380C-0FCD-623A-928E-08B59792AA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6959D5A8-A847-4705-1215-245F5EF52F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9B0E95B5-D362-B945-77F2-7AB5A6DC38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B507E480-4F48-AA14-4B77-3CBE4AD082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7D4EE47F-6BC7-CEBB-7335-802F1CFAE2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8C804D8A-4CF4-D203-E9C4-3B7B8EE71E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7530A637-6622-4F8C-8F1E-BF9056007918}"/>
              </a:ext>
            </a:extLst>
          </p:cNvPr>
          <p:cNvSpPr>
            <a:spLocks noGrp="1"/>
          </p:cNvSpPr>
          <p:nvPr>
            <p:ph type="ctrTitle"/>
          </p:nvPr>
        </p:nvSpPr>
        <p:spPr>
          <a:xfrm>
            <a:off x="882892" y="602737"/>
            <a:ext cx="10423232" cy="5744853"/>
          </a:xfrm>
        </p:spPr>
        <p:txBody>
          <a:bodyPr vert="horz" lIns="91440" tIns="45720" rIns="91440" bIns="45720" rtlCol="0" anchor="ctr">
            <a:normAutofit/>
          </a:bodyPr>
          <a:lstStyle/>
          <a:p>
            <a:pPr algn="l"/>
            <a:r>
              <a:rPr lang="en-US" sz="4000">
                <a:solidFill>
                  <a:schemeClr val="tx1"/>
                </a:solidFill>
                <a:latin typeface="Arial"/>
                <a:cs typeface="Arial"/>
              </a:rPr>
              <a:t>Appendix</a:t>
            </a:r>
            <a:endParaRPr lang="en-US" sz="4000">
              <a:solidFill>
                <a:schemeClr val="tx1"/>
              </a:solidFill>
            </a:endParaRPr>
          </a:p>
        </p:txBody>
      </p:sp>
      <p:sp>
        <p:nvSpPr>
          <p:cNvPr id="4" name="Color">
            <a:extLst>
              <a:ext uri="{FF2B5EF4-FFF2-40B4-BE49-F238E27FC236}">
                <a16:creationId xmlns:a16="http://schemas.microsoft.com/office/drawing/2014/main" id="{6A18016A-26B0-76D8-B78A-CAC3E8417D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105867" y="4348"/>
            <a:ext cx="5073590" cy="684615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6418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6567301-B4DC-B99F-F482-F27DF2F0780D}"/>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DC0749E8-C19D-F2E7-7688-612913EA6F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366DAF75-DC93-876C-6350-F08B50D411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29805DD4-7F05-8709-8C4A-65B808FE95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6595D2EB-8D88-D473-30DC-E18E0C5B5E1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8779FFCC-7DA3-B58C-103C-BEF0E19A932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3946482F-B0B2-EC34-5991-76E5B6BE10B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792AB770-5B1B-0592-FD9E-D642E16C13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7F81CBB9-6AC9-1442-E31F-73AEC713F8E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8418F453-003C-89CC-3925-0BBD3C00A04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3D7B4DA0-EB33-4C1A-CF37-8C251865562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324AC44C-6982-4523-FF74-B9A526875C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8824A45E-F049-3A85-C7F9-56AD0E60E2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F6BC4A10-0289-3E26-68EE-D996893A09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BC4B0D27-F240-ECAD-F1C8-B241965B3D4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688945FB-FDBF-C2B4-5E4A-4743B746F50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3AE95664-DB63-5AA5-6BD3-8B5183EAD495}"/>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Data Sources:</a:t>
            </a:r>
            <a:endParaRPr lang="en-US"/>
          </a:p>
        </p:txBody>
      </p:sp>
      <p:cxnSp>
        <p:nvCxnSpPr>
          <p:cNvPr id="5" name="Straight Connector 4">
            <a:extLst>
              <a:ext uri="{FF2B5EF4-FFF2-40B4-BE49-F238E27FC236}">
                <a16:creationId xmlns:a16="http://schemas.microsoft.com/office/drawing/2014/main" id="{ED9CE17C-BD25-7515-B19C-7B153591F458}"/>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6C1342F9-189A-AAEF-24CC-2C89BC3482F7}"/>
              </a:ext>
            </a:extLst>
          </p:cNvPr>
          <p:cNvSpPr txBox="1"/>
          <p:nvPr/>
        </p:nvSpPr>
        <p:spPr>
          <a:xfrm>
            <a:off x="1007979" y="1850190"/>
            <a:ext cx="10149305" cy="2960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50000"/>
              </a:lnSpc>
              <a:buFont typeface="Arial"/>
              <a:buChar char="•"/>
            </a:pPr>
            <a:r>
              <a:rPr lang="en-US" u="sng">
                <a:hlinkClick r:id="rId2"/>
              </a:rPr>
              <a:t>2025 Sustainable Energy in America Factbook</a:t>
            </a:r>
            <a:endParaRPr lang="en-US"/>
          </a:p>
          <a:p>
            <a:pPr marL="342900" indent="-342900">
              <a:lnSpc>
                <a:spcPct val="150000"/>
              </a:lnSpc>
              <a:buFont typeface="Arial"/>
              <a:buChar char="•"/>
            </a:pPr>
            <a:r>
              <a:rPr lang="en-US" u="sng">
                <a:hlinkClick r:id="rId3"/>
              </a:rPr>
              <a:t>U.S. Renewable Energy Factsheet | Center for Sustainable Systems</a:t>
            </a:r>
            <a:endParaRPr lang="en-US"/>
          </a:p>
          <a:p>
            <a:pPr marL="342900" indent="-342900">
              <a:lnSpc>
                <a:spcPct val="150000"/>
              </a:lnSpc>
              <a:buFont typeface="Arial"/>
              <a:buChar char="•"/>
            </a:pPr>
            <a:r>
              <a:rPr lang="en-US" u="sng">
                <a:hlinkClick r:id="rId4"/>
              </a:rPr>
              <a:t>Electric power sector CO2 emissions drop as generation mix shifts from coal to natural gas - U.S. Energy Information Administration (EIA)</a:t>
            </a:r>
          </a:p>
          <a:p>
            <a:pPr marL="342900" indent="-342900">
              <a:lnSpc>
                <a:spcPct val="150000"/>
              </a:lnSpc>
              <a:buFont typeface="Arial"/>
              <a:buChar char="•"/>
            </a:pPr>
            <a:r>
              <a:rPr lang="en-US" u="sng">
                <a:hlinkClick r:id="rId5"/>
              </a:rPr>
              <a:t>Nuclear Energy Factsheet | Center for Sustainable Systems</a:t>
            </a:r>
            <a:endParaRPr lang="en-US" u="sng"/>
          </a:p>
          <a:p>
            <a:pPr marL="342900" indent="-342900">
              <a:lnSpc>
                <a:spcPct val="150000"/>
              </a:lnSpc>
              <a:buFont typeface="Arial"/>
              <a:buChar char="•"/>
            </a:pPr>
            <a:r>
              <a:rPr lang="en-US" u="sng">
                <a:hlinkClick r:id="rId6"/>
              </a:rPr>
              <a:t>Cost of electricity by source - Wikipedia</a:t>
            </a:r>
            <a:endParaRPr lang="en-US" u="sng"/>
          </a:p>
          <a:p>
            <a:pPr marL="342900" indent="-342900">
              <a:lnSpc>
                <a:spcPct val="150000"/>
              </a:lnSpc>
              <a:buFont typeface="Arial"/>
              <a:buChar char="•"/>
            </a:pPr>
            <a:r>
              <a:rPr lang="en-US" u="sng">
                <a:hlinkClick r:id="rId7"/>
              </a:rPr>
              <a:t>2019 Electricity ATB - Natural Gas Plants</a:t>
            </a:r>
            <a:endParaRPr lang="en-US" u="sng"/>
          </a:p>
        </p:txBody>
      </p:sp>
    </p:spTree>
    <p:extLst>
      <p:ext uri="{BB962C8B-B14F-4D97-AF65-F5344CB8AC3E}">
        <p14:creationId xmlns:p14="http://schemas.microsoft.com/office/powerpoint/2010/main" val="3068515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EE67F5E-3C4A-313D-ABB4-FEB307106220}"/>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8F8CA193-7AC2-362A-8223-10F4C569FF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064FE25B-4794-BCCD-3920-AF3DC92A107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9CE0D5CE-A568-5E7F-91F9-CFAED123778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F3A04CDB-29BA-7E21-840D-83898E9914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2BD66BC1-43DB-849E-673F-46805066255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E1E6A041-733D-1715-D830-8EB6FE2CDE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174DC3B3-7DB8-0D2D-3F5B-324DD12F11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01A4D1E-8F7B-FAC4-F808-32CDDA48CB4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3D4575A4-DD71-205E-6A81-DE329876427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9DCDAA74-9A2A-F208-2413-F77CA31DB5B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00ADDBA8-7029-1F38-A3B9-4DF05FB5418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85266CDC-5E01-CE00-5C32-32404CDF41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4EF7DEC6-AF96-6766-97DE-D14321CF15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8AE98C0C-052F-303C-BE9E-1CF6E030CE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98B37C5E-9F33-D59A-FCAF-1E374EF508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0825ADEB-0D1F-5214-251E-0D408539A879}"/>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Team Introduction</a:t>
            </a:r>
            <a:endParaRPr lang="en-US"/>
          </a:p>
        </p:txBody>
      </p:sp>
      <p:cxnSp>
        <p:nvCxnSpPr>
          <p:cNvPr id="5" name="Straight Connector 4">
            <a:extLst>
              <a:ext uri="{FF2B5EF4-FFF2-40B4-BE49-F238E27FC236}">
                <a16:creationId xmlns:a16="http://schemas.microsoft.com/office/drawing/2014/main" id="{EC144A42-5528-9D0D-3956-1EBD1C2FD30A}"/>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32D61BB0-434D-F8FD-F7DE-5169ABFF74E0}"/>
              </a:ext>
            </a:extLst>
          </p:cNvPr>
          <p:cNvSpPr txBox="1"/>
          <p:nvPr/>
        </p:nvSpPr>
        <p:spPr>
          <a:xfrm>
            <a:off x="1208850" y="5022906"/>
            <a:ext cx="2591739" cy="553998"/>
          </a:xfrm>
          <a:prstGeom prst="rect">
            <a:avLst/>
          </a:prstGeom>
          <a:noFill/>
        </p:spPr>
        <p:txBody>
          <a:bodyPr wrap="square" lIns="0" tIns="0" rIns="0" bIns="0" rtlCol="0" anchor="b">
            <a:spAutoFit/>
          </a:bodyPr>
          <a:lstStyle/>
          <a:p>
            <a:r>
              <a:rPr lang="en-US" sz="1200">
                <a:solidFill>
                  <a:schemeClr val="bg2">
                    <a:lumMod val="10000"/>
                  </a:schemeClr>
                </a:solidFill>
                <a:latin typeface="Arial"/>
                <a:cs typeface="Arial"/>
              </a:rPr>
              <a:t>Azure Hsiao</a:t>
            </a:r>
            <a:endParaRPr lang="en-US" sz="1200">
              <a:solidFill>
                <a:schemeClr val="bg2">
                  <a:lumMod val="10000"/>
                </a:schemeClr>
              </a:solidFill>
              <a:latin typeface="Arial" panose="020B0604020202020204" pitchFamily="34" charset="0"/>
              <a:cs typeface="Arial" panose="020B0604020202020204" pitchFamily="34" charset="0"/>
            </a:endParaRPr>
          </a:p>
          <a:p>
            <a:r>
              <a:rPr lang="en-US" sz="1200">
                <a:solidFill>
                  <a:schemeClr val="bg2">
                    <a:lumMod val="10000"/>
                  </a:schemeClr>
                </a:solidFill>
                <a:latin typeface="Arial"/>
                <a:cs typeface="Arial"/>
              </a:rPr>
              <a:t>MS Marketing &amp; Business Analytics</a:t>
            </a:r>
            <a:endParaRPr lang="en-US" sz="1200">
              <a:solidFill>
                <a:schemeClr val="bg2">
                  <a:lumMod val="10000"/>
                </a:schemeClr>
              </a:solidFill>
              <a:latin typeface="Arial" panose="020B0604020202020204" pitchFamily="34" charset="0"/>
              <a:cs typeface="Arial" panose="020B0604020202020204" pitchFamily="34" charset="0"/>
            </a:endParaRPr>
          </a:p>
          <a:p>
            <a:pPr algn="l">
              <a:lnSpc>
                <a:spcPct val="100000"/>
              </a:lnSpc>
            </a:pPr>
            <a:endParaRPr lang="en-US" sz="1200">
              <a:solidFill>
                <a:schemeClr val="bg2">
                  <a:lumMod val="10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9BB734F-F082-B850-E3DD-71617128134D}"/>
              </a:ext>
            </a:extLst>
          </p:cNvPr>
          <p:cNvSpPr txBox="1"/>
          <p:nvPr/>
        </p:nvSpPr>
        <p:spPr>
          <a:xfrm>
            <a:off x="8555176" y="5017931"/>
            <a:ext cx="2583872" cy="369332"/>
          </a:xfrm>
          <a:prstGeom prst="rect">
            <a:avLst/>
          </a:prstGeom>
          <a:noFill/>
        </p:spPr>
        <p:txBody>
          <a:bodyPr wrap="square" lIns="0" tIns="0" rIns="0" bIns="0" rtlCol="0" anchor="b">
            <a:spAutoFit/>
          </a:bodyPr>
          <a:lstStyle/>
          <a:p>
            <a:r>
              <a:rPr lang="en-US" sz="1200">
                <a:solidFill>
                  <a:schemeClr val="bg2">
                    <a:lumMod val="10000"/>
                  </a:schemeClr>
                </a:solidFill>
                <a:latin typeface="Arial"/>
                <a:cs typeface="Arial"/>
              </a:rPr>
              <a:t>Timothy Liu</a:t>
            </a:r>
            <a:endParaRPr lang="en-US" sz="1200">
              <a:solidFill>
                <a:schemeClr val="bg2">
                  <a:lumMod val="10000"/>
                </a:schemeClr>
              </a:solidFill>
              <a:latin typeface="Arial" panose="020B0604020202020204" pitchFamily="34" charset="0"/>
              <a:cs typeface="Arial" panose="020B0604020202020204" pitchFamily="34" charset="0"/>
            </a:endParaRPr>
          </a:p>
          <a:p>
            <a:r>
              <a:rPr lang="en-US" sz="1200">
                <a:solidFill>
                  <a:schemeClr val="bg2">
                    <a:lumMod val="10000"/>
                  </a:schemeClr>
                </a:solidFill>
                <a:latin typeface="Arial"/>
                <a:cs typeface="Arial"/>
              </a:rPr>
              <a:t>MS Marketing &amp; Business Analytics</a:t>
            </a:r>
            <a:endParaRPr lang="en-US" sz="2800">
              <a:solidFill>
                <a:schemeClr val="bg2">
                  <a:lumMod val="10000"/>
                </a:schemeClr>
              </a:solidFill>
            </a:endParaRPr>
          </a:p>
        </p:txBody>
      </p:sp>
      <p:sp>
        <p:nvSpPr>
          <p:cNvPr id="14" name="TextBox 13">
            <a:extLst>
              <a:ext uri="{FF2B5EF4-FFF2-40B4-BE49-F238E27FC236}">
                <a16:creationId xmlns:a16="http://schemas.microsoft.com/office/drawing/2014/main" id="{E9F800A5-7C7F-3795-7803-CED51B498E37}"/>
              </a:ext>
            </a:extLst>
          </p:cNvPr>
          <p:cNvSpPr txBox="1"/>
          <p:nvPr/>
        </p:nvSpPr>
        <p:spPr>
          <a:xfrm>
            <a:off x="4883937" y="5018205"/>
            <a:ext cx="2877907" cy="369332"/>
          </a:xfrm>
          <a:prstGeom prst="rect">
            <a:avLst/>
          </a:prstGeom>
          <a:noFill/>
        </p:spPr>
        <p:txBody>
          <a:bodyPr wrap="square" lIns="0" tIns="0" rIns="0" bIns="0" rtlCol="0" anchor="b">
            <a:spAutoFit/>
          </a:bodyPr>
          <a:lstStyle/>
          <a:p>
            <a:pPr algn="l">
              <a:lnSpc>
                <a:spcPct val="100000"/>
              </a:lnSpc>
            </a:pPr>
            <a:r>
              <a:rPr lang="en-US" sz="1200">
                <a:solidFill>
                  <a:schemeClr val="bg2">
                    <a:lumMod val="10000"/>
                  </a:schemeClr>
                </a:solidFill>
                <a:latin typeface="Arial"/>
                <a:cs typeface="Arial"/>
              </a:rPr>
              <a:t>Revati Wankhede</a:t>
            </a:r>
          </a:p>
          <a:p>
            <a:r>
              <a:rPr lang="en-US" sz="1200">
                <a:solidFill>
                  <a:schemeClr val="bg2">
                    <a:lumMod val="10000"/>
                  </a:schemeClr>
                </a:solidFill>
                <a:latin typeface="Arial"/>
                <a:cs typeface="Arial"/>
              </a:rPr>
              <a:t>MS Management &amp; Business Analytics</a:t>
            </a:r>
          </a:p>
        </p:txBody>
      </p:sp>
      <p:pic>
        <p:nvPicPr>
          <p:cNvPr id="17" name="Picture 16" descr="A person sitting on a bench&#10;&#10;AI-generated content may be incorrect.">
            <a:extLst>
              <a:ext uri="{FF2B5EF4-FFF2-40B4-BE49-F238E27FC236}">
                <a16:creationId xmlns:a16="http://schemas.microsoft.com/office/drawing/2014/main" id="{E1BC41EF-0229-0C7B-3359-BF1403AB6809}"/>
              </a:ext>
            </a:extLst>
          </p:cNvPr>
          <p:cNvPicPr>
            <a:picLocks/>
          </p:cNvPicPr>
          <p:nvPr/>
        </p:nvPicPr>
        <p:blipFill>
          <a:blip r:embed="rId2" cstate="print">
            <a:extLst>
              <a:ext uri="{28A0092B-C50C-407E-A947-70E740481C1C}">
                <a14:useLocalDpi xmlns:a14="http://schemas.microsoft.com/office/drawing/2010/main" val="0"/>
              </a:ext>
            </a:extLst>
          </a:blip>
          <a:srcRect l="6827" t="382" r="7631"/>
          <a:stretch/>
        </p:blipFill>
        <p:spPr>
          <a:xfrm>
            <a:off x="4863441" y="1621959"/>
            <a:ext cx="2455607" cy="3008194"/>
          </a:xfrm>
          <a:prstGeom prst="rect">
            <a:avLst/>
          </a:prstGeom>
          <a:effectLst>
            <a:softEdge rad="0"/>
          </a:effectLst>
          <a:scene3d>
            <a:camera prst="orthographicFront"/>
            <a:lightRig rig="threePt" dir="t"/>
          </a:scene3d>
          <a:sp3d prstMaterial="matte"/>
        </p:spPr>
      </p:pic>
      <p:pic>
        <p:nvPicPr>
          <p:cNvPr id="3" name="Picture 2" descr="A person sitting on a chair&#10;&#10;AI-generated content may be incorrect.">
            <a:extLst>
              <a:ext uri="{FF2B5EF4-FFF2-40B4-BE49-F238E27FC236}">
                <a16:creationId xmlns:a16="http://schemas.microsoft.com/office/drawing/2014/main" id="{CEF40BBF-C8BF-A1C2-35AE-0E803A483FD1}"/>
              </a:ext>
            </a:extLst>
          </p:cNvPr>
          <p:cNvPicPr>
            <a:picLocks noChangeAspect="1"/>
          </p:cNvPicPr>
          <p:nvPr/>
        </p:nvPicPr>
        <p:blipFill>
          <a:blip r:embed="rId3"/>
          <a:srcRect l="37708" t="3542" r="24388" b="26131"/>
          <a:stretch/>
        </p:blipFill>
        <p:spPr>
          <a:xfrm>
            <a:off x="1206500" y="1624299"/>
            <a:ext cx="2460617" cy="3012551"/>
          </a:xfrm>
          <a:prstGeom prst="rect">
            <a:avLst/>
          </a:prstGeom>
        </p:spPr>
      </p:pic>
      <p:pic>
        <p:nvPicPr>
          <p:cNvPr id="4" name="Picture 3" descr="A person in a suit with his arms crossed&#10;&#10;AI-generated content may be incorrect.">
            <a:extLst>
              <a:ext uri="{FF2B5EF4-FFF2-40B4-BE49-F238E27FC236}">
                <a16:creationId xmlns:a16="http://schemas.microsoft.com/office/drawing/2014/main" id="{151985C1-910E-39E5-DF18-4301A44959DE}"/>
              </a:ext>
            </a:extLst>
          </p:cNvPr>
          <p:cNvPicPr>
            <a:picLocks noChangeAspect="1"/>
          </p:cNvPicPr>
          <p:nvPr/>
        </p:nvPicPr>
        <p:blipFill>
          <a:blip r:embed="rId4"/>
          <a:srcRect l="2943" t="1586" r="7103" b="25378"/>
          <a:stretch/>
        </p:blipFill>
        <p:spPr>
          <a:xfrm>
            <a:off x="8374470" y="1619250"/>
            <a:ext cx="2474744" cy="3010064"/>
          </a:xfrm>
          <a:prstGeom prst="rect">
            <a:avLst/>
          </a:prstGeom>
        </p:spPr>
      </p:pic>
    </p:spTree>
    <p:extLst>
      <p:ext uri="{BB962C8B-B14F-4D97-AF65-F5344CB8AC3E}">
        <p14:creationId xmlns:p14="http://schemas.microsoft.com/office/powerpoint/2010/main" val="64473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6D0F35A-08E3-22A9-A997-50B033A8A645}"/>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B4376077-F56D-8B8E-A472-2446ED2C5F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E4264EDB-E984-9124-6C01-B2FFA020108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B95DA7A7-FFC1-44F0-709D-DE53068F30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2B84D3EF-8FA6-D79D-2001-14C8A4A001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13603A31-147A-16CB-FB6C-C964980186A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A82345F2-6A76-C582-54AC-16E8997649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E26B1A8A-AC36-773F-BD6A-081BE305AA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160F0838-5D41-CB41-A984-3FABE5511D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441A121E-DB37-F248-E442-730F220DEA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9FEBC24F-248E-1054-E9D6-D27F5E07369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3DA492E0-E0B6-E4A4-DF24-2A7FDC166A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574EE986-A4F4-FC86-F798-9F675CC47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C6BE4C9A-BDBC-970A-3DE0-0D87DCEFBFF9}"/>
              </a:ext>
            </a:extLst>
          </p:cNvPr>
          <p:cNvSpPr>
            <a:spLocks noGrp="1"/>
          </p:cNvSpPr>
          <p:nvPr>
            <p:ph type="ctrTitle"/>
          </p:nvPr>
        </p:nvSpPr>
        <p:spPr>
          <a:xfrm>
            <a:off x="882892" y="1600849"/>
            <a:ext cx="10423232" cy="4746741"/>
          </a:xfrm>
        </p:spPr>
        <p:txBody>
          <a:bodyPr vert="horz" lIns="91440" tIns="45720" rIns="91440" bIns="45720" rtlCol="0" anchor="ctr">
            <a:normAutofit fontScale="90000"/>
          </a:bodyPr>
          <a:lstStyle/>
          <a:p>
            <a:pPr algn="l">
              <a:lnSpc>
                <a:spcPct val="200000"/>
              </a:lnSpc>
            </a:pPr>
            <a:r>
              <a:rPr lang="en-US" sz="4000" u="sng">
                <a:solidFill>
                  <a:schemeClr val="tx1"/>
                </a:solidFill>
                <a:latin typeface="Arial"/>
                <a:cs typeface="Arial"/>
              </a:rPr>
              <a:t>Today's Agenda</a:t>
            </a:r>
            <a:br>
              <a:rPr lang="en-US" sz="2700">
                <a:latin typeface="Arial"/>
                <a:cs typeface="Arial"/>
              </a:rPr>
            </a:br>
            <a:r>
              <a:rPr lang="en-US" sz="2700">
                <a:solidFill>
                  <a:schemeClr val="tx1"/>
                </a:solidFill>
                <a:latin typeface="Arial"/>
                <a:cs typeface="Arial"/>
              </a:rPr>
              <a:t>1. Project Case</a:t>
            </a:r>
            <a:br>
              <a:rPr lang="en-US" sz="2700"/>
            </a:br>
            <a:r>
              <a:rPr lang="en-US" sz="2700">
                <a:solidFill>
                  <a:schemeClr val="tx1"/>
                </a:solidFill>
                <a:latin typeface="Arial"/>
                <a:cs typeface="Arial"/>
              </a:rPr>
              <a:t>2. Methodology</a:t>
            </a:r>
            <a:br>
              <a:rPr lang="en-US" sz="2700">
                <a:latin typeface="Arial"/>
                <a:cs typeface="Arial"/>
              </a:rPr>
            </a:br>
            <a:r>
              <a:rPr lang="en-US" sz="2700">
                <a:solidFill>
                  <a:schemeClr val="tx1"/>
                </a:solidFill>
                <a:latin typeface="Arial"/>
                <a:cs typeface="Arial"/>
              </a:rPr>
              <a:t>3. Insights</a:t>
            </a:r>
            <a:br>
              <a:rPr lang="en-US" sz="2700">
                <a:latin typeface="Arial"/>
                <a:cs typeface="Arial"/>
              </a:rPr>
            </a:br>
            <a:r>
              <a:rPr lang="en-US" sz="2700">
                <a:solidFill>
                  <a:schemeClr val="tx1"/>
                </a:solidFill>
                <a:latin typeface="Arial"/>
                <a:cs typeface="Arial"/>
              </a:rPr>
              <a:t>4. Recommended Next Steps</a:t>
            </a:r>
            <a:br>
              <a:rPr lang="en-US" sz="2700"/>
            </a:br>
            <a:br>
              <a:rPr lang="en-US" sz="2700"/>
            </a:br>
            <a:endParaRPr lang="en-US" sz="2700">
              <a:solidFill>
                <a:schemeClr val="tx1"/>
              </a:solidFill>
            </a:endParaRPr>
          </a:p>
        </p:txBody>
      </p:sp>
      <p:sp>
        <p:nvSpPr>
          <p:cNvPr id="4" name="Color">
            <a:extLst>
              <a:ext uri="{FF2B5EF4-FFF2-40B4-BE49-F238E27FC236}">
                <a16:creationId xmlns:a16="http://schemas.microsoft.com/office/drawing/2014/main" id="{60781617-9455-0A44-5671-C2C8FD9D951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105867" y="4348"/>
            <a:ext cx="5073590" cy="684615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299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CF81D02-C3CD-5411-E3E3-378317C3E8FF}"/>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EF0CA843-F1A0-E02C-68DB-AA1729E4D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07305595-89AE-17D1-B8C8-8CCB2A31ECB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77BD82A7-1201-AEF8-EA1A-F81F4E09731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E00687B1-5BD9-E898-382F-F1A2AC99D03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5F2D349F-C37E-BD5C-5CA0-2EFF02C88F0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4D23B83D-658E-C208-D408-061162FD71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2F0B8E1D-F748-767F-47D7-9663F587C72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A93BFBA8-BCE5-BA89-6C32-4EB42B72856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E686FFB8-9FB0-DBC6-0EC7-179E390EE8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AE2C058C-D941-B40D-0AD9-ECBF936D1BD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B89D89A6-7CC8-F3E0-39CD-D6E160B94AA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59CA0344-F3A9-9A68-66BC-7797E9124D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36926E18-29FD-6C08-FAC3-A8FA200D24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F3A4074F-9DE5-D422-06FA-7D5C86A4FA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7C6E0AA2-F444-5657-E7BB-1C2CAF5951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563D8549-0A3F-288E-A38A-C03D41F16D09}"/>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Energy Landscape in the US</a:t>
            </a:r>
            <a:endParaRPr lang="en-US">
              <a:solidFill>
                <a:schemeClr val="tx1"/>
              </a:solidFill>
            </a:endParaRPr>
          </a:p>
        </p:txBody>
      </p:sp>
      <p:cxnSp>
        <p:nvCxnSpPr>
          <p:cNvPr id="5" name="Straight Connector 4">
            <a:extLst>
              <a:ext uri="{FF2B5EF4-FFF2-40B4-BE49-F238E27FC236}">
                <a16:creationId xmlns:a16="http://schemas.microsoft.com/office/drawing/2014/main" id="{F14E76BE-30DB-4E83-C310-14D735C75E9A}"/>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pic>
        <p:nvPicPr>
          <p:cNvPr id="10" name="Picture 9" descr="A diagram of a diagram&#10;&#10;AI-generated content may be incorrect.">
            <a:extLst>
              <a:ext uri="{FF2B5EF4-FFF2-40B4-BE49-F238E27FC236}">
                <a16:creationId xmlns:a16="http://schemas.microsoft.com/office/drawing/2014/main" id="{F4854A2B-AA34-BA90-B5F2-042666C39D17}"/>
              </a:ext>
            </a:extLst>
          </p:cNvPr>
          <p:cNvPicPr>
            <a:picLocks noChangeAspect="1"/>
          </p:cNvPicPr>
          <p:nvPr/>
        </p:nvPicPr>
        <p:blipFill>
          <a:blip r:embed="rId3"/>
          <a:stretch>
            <a:fillRect/>
          </a:stretch>
        </p:blipFill>
        <p:spPr>
          <a:xfrm>
            <a:off x="4685798" y="1414712"/>
            <a:ext cx="6643772" cy="4844049"/>
          </a:xfrm>
          <a:prstGeom prst="rect">
            <a:avLst/>
          </a:prstGeom>
        </p:spPr>
      </p:pic>
      <p:sp>
        <p:nvSpPr>
          <p:cNvPr id="11" name="TextBox 10">
            <a:extLst>
              <a:ext uri="{FF2B5EF4-FFF2-40B4-BE49-F238E27FC236}">
                <a16:creationId xmlns:a16="http://schemas.microsoft.com/office/drawing/2014/main" id="{C0E4FBB6-2586-8E17-8BB4-2B03330AEE6C}"/>
              </a:ext>
            </a:extLst>
          </p:cNvPr>
          <p:cNvSpPr txBox="1"/>
          <p:nvPr/>
        </p:nvSpPr>
        <p:spPr>
          <a:xfrm>
            <a:off x="882315" y="1711158"/>
            <a:ext cx="3809999"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t>The U.S. must meet a 1000 MWh electricity demand while balancing cost, reliability, and sustainability.</a:t>
            </a:r>
            <a:br>
              <a:rPr lang="en-US"/>
            </a:br>
            <a:endParaRPr lang="en-US"/>
          </a:p>
          <a:p>
            <a:pPr marL="285750" indent="-285750">
              <a:buFont typeface="Arial"/>
              <a:buChar char="•"/>
            </a:pPr>
            <a:r>
              <a:rPr lang="en-US"/>
              <a:t>Strict CO₂ caps (≤100 metric tons/year) and capacity constraints add pressure on planning.</a:t>
            </a:r>
            <a:br>
              <a:rPr lang="en-US"/>
            </a:br>
            <a:endParaRPr lang="en-US"/>
          </a:p>
          <a:p>
            <a:pPr marL="285750" indent="-285750">
              <a:buFont typeface="Arial"/>
              <a:buChar char="•"/>
            </a:pPr>
            <a:r>
              <a:rPr lang="en-US"/>
              <a:t>Utilities face volatile fuel costs, infrastructure challenges, and growing scrutiny of traditional energy sources.</a:t>
            </a:r>
          </a:p>
          <a:p>
            <a:endParaRPr lang="en-US"/>
          </a:p>
        </p:txBody>
      </p:sp>
    </p:spTree>
    <p:extLst>
      <p:ext uri="{BB962C8B-B14F-4D97-AF65-F5344CB8AC3E}">
        <p14:creationId xmlns:p14="http://schemas.microsoft.com/office/powerpoint/2010/main" val="3240406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712AB79-3868-5E09-5766-29ECABCDF782}"/>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349FA99E-1147-2948-E250-D07E1DE4C0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28BBC38D-0BCC-0B74-61C9-FED83A3FA5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1D60BA4E-C75E-2B97-C3A3-A3D0963C95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F4BA9499-7CF0-2642-598D-6EE733CA1D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1E2152E9-B1FF-0995-3E48-191F95FFC10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A12AD560-09C9-E4AA-863B-6D9577179C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9B70A996-3FAB-591F-61DD-174F352AE5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E71F1F40-BDBC-2A5B-BA29-A247A5C6638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91127E83-A572-1673-6027-A0703F76EC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65D14233-11D5-CCC7-06CC-9B18885A60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255A1FE2-EE99-FB8F-C7DC-4650EBDAAF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A1606A37-C7BB-A017-EF55-4CD3AC88AA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15659FBC-FD0E-8014-AC4E-5BA967C645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264FF0E1-93C2-3C96-EA42-6490F89691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D7FD0EE6-4B66-524C-6034-CFC2227497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DDE268DC-3BFB-7808-8188-4BB11129E790}"/>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Energy Landscape - Challenges</a:t>
            </a:r>
            <a:endParaRPr lang="en-US">
              <a:solidFill>
                <a:schemeClr val="tx1"/>
              </a:solidFill>
            </a:endParaRPr>
          </a:p>
        </p:txBody>
      </p:sp>
      <p:cxnSp>
        <p:nvCxnSpPr>
          <p:cNvPr id="5" name="Straight Connector 4">
            <a:extLst>
              <a:ext uri="{FF2B5EF4-FFF2-40B4-BE49-F238E27FC236}">
                <a16:creationId xmlns:a16="http://schemas.microsoft.com/office/drawing/2014/main" id="{AAF0EF3D-D028-BC69-2838-3477AC7CBA5F}"/>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64494497-0C8A-C159-B516-E28D8DE57A4A}"/>
              </a:ext>
            </a:extLst>
          </p:cNvPr>
          <p:cNvSpPr txBox="1"/>
          <p:nvPr/>
        </p:nvSpPr>
        <p:spPr>
          <a:xfrm>
            <a:off x="874774" y="1914509"/>
            <a:ext cx="10417759" cy="830997"/>
          </a:xfrm>
          <a:prstGeom prst="rect">
            <a:avLst/>
          </a:prstGeom>
          <a:noFill/>
          <a:ln>
            <a:solidFill>
              <a:schemeClr val="tx2">
                <a:lumMod val="10000"/>
                <a:lumOff val="9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i="1">
                <a:solidFill>
                  <a:schemeClr val="tx2">
                    <a:lumMod val="76000"/>
                    <a:lumOff val="24000"/>
                  </a:schemeClr>
                </a:solidFill>
                <a:ea typeface="+mn-lt"/>
                <a:cs typeface="+mn-lt"/>
              </a:rPr>
              <a:t>How do we strike the right balance between cost and reliability while staying within environmental and capacity limits?</a:t>
            </a:r>
            <a:endParaRPr lang="en-US" i="1">
              <a:solidFill>
                <a:schemeClr val="tx2">
                  <a:lumMod val="76000"/>
                  <a:lumOff val="24000"/>
                </a:schemeClr>
              </a:solidFill>
            </a:endParaRPr>
          </a:p>
        </p:txBody>
      </p:sp>
      <p:sp>
        <p:nvSpPr>
          <p:cNvPr id="4" name="TextBox 3">
            <a:extLst>
              <a:ext uri="{FF2B5EF4-FFF2-40B4-BE49-F238E27FC236}">
                <a16:creationId xmlns:a16="http://schemas.microsoft.com/office/drawing/2014/main" id="{80D24BB0-D548-C69D-8694-C5F2B5685C3D}"/>
              </a:ext>
            </a:extLst>
          </p:cNvPr>
          <p:cNvSpPr txBox="1"/>
          <p:nvPr/>
        </p:nvSpPr>
        <p:spPr>
          <a:xfrm>
            <a:off x="1034716" y="3200400"/>
            <a:ext cx="9975515" cy="252376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a:buChar char="•"/>
            </a:pPr>
            <a:r>
              <a:rPr lang="en-US" sz="2000">
                <a:ea typeface="+mn-lt"/>
                <a:cs typeface="+mn-lt"/>
              </a:rPr>
              <a:t>Instead of optimizing for just </a:t>
            </a:r>
            <a:r>
              <a:rPr lang="en-US" sz="2000" b="1">
                <a:ea typeface="+mn-lt"/>
                <a:cs typeface="+mn-lt"/>
              </a:rPr>
              <a:t>cost</a:t>
            </a:r>
            <a:r>
              <a:rPr lang="en-US" sz="2000">
                <a:ea typeface="+mn-lt"/>
                <a:cs typeface="+mn-lt"/>
              </a:rPr>
              <a:t> or </a:t>
            </a:r>
            <a:r>
              <a:rPr lang="en-US" sz="2000" b="1">
                <a:ea typeface="+mn-lt"/>
                <a:cs typeface="+mn-lt"/>
              </a:rPr>
              <a:t>reliability</a:t>
            </a:r>
            <a:r>
              <a:rPr lang="en-US" sz="2000">
                <a:ea typeface="+mn-lt"/>
                <a:cs typeface="+mn-lt"/>
              </a:rPr>
              <a:t>, we apply a </a:t>
            </a:r>
            <a:r>
              <a:rPr lang="en-US" sz="2000" b="1">
                <a:ea typeface="+mn-lt"/>
                <a:cs typeface="+mn-lt"/>
              </a:rPr>
              <a:t>Pareto-based multi-objective approach</a:t>
            </a:r>
            <a:br>
              <a:rPr lang="en-US" sz="2000" b="1">
                <a:ea typeface="+mn-lt"/>
                <a:cs typeface="+mn-lt"/>
              </a:rPr>
            </a:br>
            <a:endParaRPr lang="en-US" sz="2000">
              <a:ea typeface="+mn-lt"/>
              <a:cs typeface="+mn-lt"/>
            </a:endParaRPr>
          </a:p>
          <a:p>
            <a:pPr marL="342900" indent="-342900">
              <a:buFont typeface="Arial"/>
              <a:buChar char="•"/>
            </a:pPr>
            <a:r>
              <a:rPr lang="en-US" sz="2000">
                <a:ea typeface="+mn-lt"/>
                <a:cs typeface="+mn-lt"/>
              </a:rPr>
              <a:t>This method explores trade-offs to identify the </a:t>
            </a:r>
            <a:r>
              <a:rPr lang="en-US" sz="2000" b="1">
                <a:ea typeface="+mn-lt"/>
                <a:cs typeface="+mn-lt"/>
              </a:rPr>
              <a:t>most balanced and practical energy mix</a:t>
            </a:r>
            <a:br>
              <a:rPr lang="en-US" sz="2000" b="1">
                <a:ea typeface="+mn-lt"/>
                <a:cs typeface="+mn-lt"/>
              </a:rPr>
            </a:br>
            <a:endParaRPr lang="en-US" sz="2000" b="1">
              <a:ea typeface="+mn-lt"/>
              <a:cs typeface="+mn-lt"/>
            </a:endParaRPr>
          </a:p>
          <a:p>
            <a:pPr marL="342900" indent="-342900">
              <a:buFont typeface="Arial"/>
              <a:buChar char="•"/>
            </a:pPr>
            <a:r>
              <a:rPr lang="en-US" sz="2000">
                <a:ea typeface="+mn-lt"/>
                <a:cs typeface="+mn-lt"/>
              </a:rPr>
              <a:t>The goal is to support </a:t>
            </a:r>
            <a:r>
              <a:rPr lang="en-US" sz="2000" b="1">
                <a:ea typeface="+mn-lt"/>
                <a:cs typeface="+mn-lt"/>
              </a:rPr>
              <a:t>real-world decision-making</a:t>
            </a:r>
            <a:r>
              <a:rPr lang="en-US" sz="2000">
                <a:ea typeface="+mn-lt"/>
                <a:cs typeface="+mn-lt"/>
              </a:rPr>
              <a:t>—not rely on idealized assumptions</a:t>
            </a:r>
          </a:p>
          <a:p>
            <a:pPr marL="285750" indent="-285750">
              <a:buFont typeface="Arial"/>
              <a:buChar char="•"/>
            </a:pPr>
            <a:endParaRPr lang="en-US"/>
          </a:p>
        </p:txBody>
      </p:sp>
    </p:spTree>
    <p:extLst>
      <p:ext uri="{BB962C8B-B14F-4D97-AF65-F5344CB8AC3E}">
        <p14:creationId xmlns:p14="http://schemas.microsoft.com/office/powerpoint/2010/main" val="356252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7C04664-41BA-6613-DF5B-2B86EAE93A8C}"/>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F015B4E4-A311-8AAF-C266-FB52F0A3FC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871177D1-DAC4-E6C9-5413-795A4B692DE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8BC1B50C-0178-D254-C9B1-EE93015A19D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88975F61-27FF-79EB-F456-86B2EB54F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E932476D-8083-05EC-A7CC-A5CC3084076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2F224F37-FA37-4059-0C83-1316D03503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E19A69D9-A7A6-3E0F-E60E-25D7211CEDB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D15808A8-F862-D714-6631-601DB80581D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2ED21BC0-0FBC-0DAE-75F1-1812E3B168D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E5DC9237-CD9B-792B-E835-70E10648A5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6162B18E-7138-3A7F-C82F-360E6F22BC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1628C1A8-EB37-A9DD-EE69-F775D9734EC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ABBE292B-D69A-957D-98A5-6673C6C0FF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FDE46549-8D9E-4EFF-A3A1-081E293FCB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66647FE2-37A3-A8D6-2479-1053945DC8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A9BC12CC-0445-5F22-60D2-E2C358882DAD}"/>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Problem Statement</a:t>
            </a:r>
            <a:endParaRPr lang="en-US"/>
          </a:p>
        </p:txBody>
      </p:sp>
      <p:cxnSp>
        <p:nvCxnSpPr>
          <p:cNvPr id="5" name="Straight Connector 4">
            <a:extLst>
              <a:ext uri="{FF2B5EF4-FFF2-40B4-BE49-F238E27FC236}">
                <a16:creationId xmlns:a16="http://schemas.microsoft.com/office/drawing/2014/main" id="{A77EC0B4-7C43-961F-9A4B-B2C171E0C0D8}"/>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E0568E4A-6F4B-7E3A-3EC3-99338D879307}"/>
              </a:ext>
            </a:extLst>
          </p:cNvPr>
          <p:cNvSpPr txBox="1"/>
          <p:nvPr/>
        </p:nvSpPr>
        <p:spPr>
          <a:xfrm>
            <a:off x="1007979" y="1850190"/>
            <a:ext cx="10149305"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The United States plans to meet a projected electricity demand of 1000 MWh using four generation sources: Solar, Wind, Nuclear, and Fossil. Each source differs in cost and reliability and is constrained by generation capacity and environmental policy. </a:t>
            </a:r>
            <a:r>
              <a:rPr lang="en-US" sz="2000"/>
              <a:t>The goal is to determine the optimal mix that:</a:t>
            </a:r>
            <a:br>
              <a:rPr lang="en-US" sz="2000"/>
            </a:br>
            <a:endParaRPr lang="en-US" sz="2000"/>
          </a:p>
          <a:p>
            <a:pPr>
              <a:buFont typeface=""/>
              <a:buChar char="•"/>
            </a:pPr>
            <a:r>
              <a:rPr lang="en-US" sz="2000" b="1"/>
              <a:t> Minimizes total cost</a:t>
            </a:r>
          </a:p>
          <a:p>
            <a:pPr>
              <a:buFont typeface=""/>
              <a:buChar char="•"/>
            </a:pPr>
            <a:r>
              <a:rPr lang="en-US" sz="2000" b="1"/>
              <a:t> Maximizes overall reliability</a:t>
            </a:r>
            <a:br>
              <a:rPr lang="en-US" sz="2000" b="1"/>
            </a:br>
            <a:endParaRPr lang="en-US" sz="2000" b="1"/>
          </a:p>
          <a:p>
            <a:r>
              <a:rPr lang="en-US" sz="2000"/>
              <a:t>Subject to:</a:t>
            </a:r>
          </a:p>
          <a:p>
            <a:pPr>
              <a:buFont typeface=""/>
              <a:buChar char="•"/>
            </a:pPr>
            <a:r>
              <a:rPr lang="en-US" sz="2000"/>
              <a:t> A </a:t>
            </a:r>
            <a:r>
              <a:rPr lang="en-US" sz="2000" b="1"/>
              <a:t>CO₂ emissions cap</a:t>
            </a:r>
            <a:r>
              <a:rPr lang="en-US" sz="2000"/>
              <a:t> of 100 metric tons per year</a:t>
            </a:r>
          </a:p>
          <a:p>
            <a:pPr>
              <a:buFont typeface=""/>
              <a:buChar char="•"/>
            </a:pPr>
            <a:r>
              <a:rPr lang="en-US" sz="2000"/>
              <a:t> Source capacity limits</a:t>
            </a:r>
          </a:p>
          <a:p>
            <a:pPr>
              <a:buFont typeface=""/>
              <a:buChar char="•"/>
            </a:pPr>
            <a:r>
              <a:rPr lang="en-US" sz="2000"/>
              <a:t> Total generation must meet demand</a:t>
            </a:r>
          </a:p>
        </p:txBody>
      </p:sp>
    </p:spTree>
    <p:extLst>
      <p:ext uri="{BB962C8B-B14F-4D97-AF65-F5344CB8AC3E}">
        <p14:creationId xmlns:p14="http://schemas.microsoft.com/office/powerpoint/2010/main" val="3402577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954DED5-4A35-E496-3CCB-E9F16D8D4AB0}"/>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8C4E9830-74FC-293F-92C5-20AF7069FE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FBE90B7B-09BC-15A2-14FB-923D7EEE4A0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6718712A-2AF9-101B-E5B9-EF7916080A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7436BCBD-FB3A-38D6-740C-A676C2C724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C60C4E52-9663-9F0E-BEA9-0458E030FC0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D8286F0D-AB93-BA61-AA09-B3C0FEBA12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6D79EFDE-4D3C-4868-532C-E930DD62D4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EB29A37A-3751-DF18-18F0-C74B260335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264EE32A-76A4-83B1-6780-17C8492D9A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484C693C-F70E-8DC6-531E-96A1EE31E3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F306EBF7-6381-A2A0-9399-058959807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3ADF0458-3813-8185-8678-9F86CFD929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DFC1150C-2064-ABB2-0944-158EFCEED4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E26533CE-7A3B-ABA6-A6D0-76B16D596F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CA40C167-D39A-5EA9-A1BF-26C4D83E32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130C3B13-F67C-A06C-CDCD-6AAA712BFE82}"/>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Methodology - Pareto Multi-objective</a:t>
            </a:r>
            <a:endParaRPr lang="en-US" sz="2700" b="0">
              <a:solidFill>
                <a:schemeClr val="tx1"/>
              </a:solidFill>
              <a:latin typeface="Arial"/>
              <a:cs typeface="Arial"/>
            </a:endParaRPr>
          </a:p>
        </p:txBody>
      </p:sp>
      <p:cxnSp>
        <p:nvCxnSpPr>
          <p:cNvPr id="5" name="Straight Connector 4">
            <a:extLst>
              <a:ext uri="{FF2B5EF4-FFF2-40B4-BE49-F238E27FC236}">
                <a16:creationId xmlns:a16="http://schemas.microsoft.com/office/drawing/2014/main" id="{57044BCF-5682-31A5-DA93-4231B4D53BDD}"/>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789A6009-C1EA-D1BB-00EF-066A6D3174A3}"/>
              </a:ext>
            </a:extLst>
          </p:cNvPr>
          <p:cNvSpPr txBox="1"/>
          <p:nvPr/>
        </p:nvSpPr>
        <p:spPr>
          <a:xfrm>
            <a:off x="882203" y="1599579"/>
            <a:ext cx="6590480" cy="39703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Font typeface=""/>
              <a:buChar char="•"/>
            </a:pPr>
            <a:r>
              <a:rPr lang="en-US" b="1">
                <a:latin typeface="Arial"/>
                <a:cs typeface="Arial"/>
              </a:rPr>
              <a:t>Objective:</a:t>
            </a:r>
            <a:r>
              <a:rPr lang="en-US">
                <a:latin typeface="Arial"/>
                <a:cs typeface="Arial"/>
              </a:rPr>
              <a:t> </a:t>
            </a:r>
          </a:p>
          <a:p>
            <a:r>
              <a:rPr lang="en-US">
                <a:latin typeface="Arial"/>
                <a:cs typeface="Arial"/>
              </a:rPr>
              <a:t>Determine the optimal mix of energy sources (Solar, Wind, Nuclear, Fossil) to meet </a:t>
            </a:r>
            <a:r>
              <a:rPr lang="en-US" b="1">
                <a:latin typeface="Arial"/>
                <a:cs typeface="Arial"/>
              </a:rPr>
              <a:t>1000 MWh demand</a:t>
            </a:r>
            <a:endParaRPr lang="en-US">
              <a:latin typeface="Arial"/>
              <a:cs typeface="Arial"/>
            </a:endParaRPr>
          </a:p>
          <a:p>
            <a:endParaRPr lang="en-US" b="1">
              <a:latin typeface="Arial"/>
              <a:cs typeface="Arial"/>
            </a:endParaRPr>
          </a:p>
          <a:p>
            <a:pPr marL="228600" indent="-228600">
              <a:buFont typeface=""/>
              <a:buChar char="•"/>
            </a:pPr>
            <a:r>
              <a:rPr lang="en-US" b="1">
                <a:latin typeface="Arial"/>
                <a:cs typeface="Arial"/>
              </a:rPr>
              <a:t>Goals:</a:t>
            </a:r>
          </a:p>
          <a:p>
            <a:pPr marL="457200" lvl="2"/>
            <a:r>
              <a:rPr lang="en-US" b="1">
                <a:latin typeface="Arial"/>
                <a:cs typeface="Arial"/>
              </a:rPr>
              <a:t>Minimize</a:t>
            </a:r>
            <a:r>
              <a:rPr lang="en-US">
                <a:latin typeface="Arial"/>
                <a:cs typeface="Arial"/>
              </a:rPr>
              <a:t> total generation </a:t>
            </a:r>
            <a:r>
              <a:rPr lang="en-US" b="1">
                <a:latin typeface="Arial"/>
                <a:cs typeface="Arial"/>
              </a:rPr>
              <a:t>cost</a:t>
            </a:r>
          </a:p>
          <a:p>
            <a:pPr marL="457200" lvl="2"/>
            <a:r>
              <a:rPr lang="en-US" b="1">
                <a:latin typeface="Arial"/>
                <a:cs typeface="Arial"/>
              </a:rPr>
              <a:t>Maximize</a:t>
            </a:r>
            <a:r>
              <a:rPr lang="en-US">
                <a:latin typeface="Arial"/>
                <a:cs typeface="Arial"/>
              </a:rPr>
              <a:t> overall </a:t>
            </a:r>
            <a:r>
              <a:rPr lang="en-US" b="1">
                <a:latin typeface="Arial"/>
                <a:cs typeface="Arial"/>
              </a:rPr>
              <a:t>reliability</a:t>
            </a:r>
          </a:p>
          <a:p>
            <a:pPr marL="457200" lvl="2"/>
            <a:endParaRPr lang="en-US" b="1">
              <a:latin typeface="Arial"/>
              <a:cs typeface="Arial"/>
            </a:endParaRPr>
          </a:p>
          <a:p>
            <a:pPr marL="228600" indent="-228600">
              <a:buFont typeface=""/>
              <a:buChar char="•"/>
            </a:pPr>
            <a:r>
              <a:rPr lang="en-US" b="1">
                <a:latin typeface="Arial"/>
                <a:cs typeface="Arial"/>
              </a:rPr>
              <a:t>Constraints:</a:t>
            </a:r>
          </a:p>
          <a:p>
            <a:pPr marL="457200" lvl="2"/>
            <a:r>
              <a:rPr lang="en-US">
                <a:latin typeface="Arial"/>
                <a:cs typeface="Arial"/>
              </a:rPr>
              <a:t>Emissions cap: </a:t>
            </a:r>
            <a:r>
              <a:rPr lang="en-US" b="1">
                <a:latin typeface="Arial"/>
                <a:cs typeface="Arial"/>
              </a:rPr>
              <a:t>≤ 100 metric tons CO₂/year</a:t>
            </a:r>
          </a:p>
          <a:p>
            <a:pPr marL="457200" lvl="2"/>
            <a:endParaRPr lang="en-US" b="1">
              <a:latin typeface="Arial"/>
              <a:cs typeface="Arial"/>
            </a:endParaRPr>
          </a:p>
          <a:p>
            <a:pPr marL="228600" lvl="1" indent="-228600">
              <a:buFont typeface=""/>
              <a:buChar char="•"/>
            </a:pPr>
            <a:r>
              <a:rPr lang="en-US" b="1">
                <a:latin typeface="Arial"/>
                <a:cs typeface="Arial"/>
              </a:rPr>
              <a:t>Source capacity</a:t>
            </a:r>
            <a:r>
              <a:rPr lang="en-US">
                <a:latin typeface="Arial"/>
                <a:cs typeface="Arial"/>
              </a:rPr>
              <a:t> limits</a:t>
            </a:r>
          </a:p>
          <a:p>
            <a:pPr marL="228600" lvl="1" indent="-228600">
              <a:buFont typeface=""/>
              <a:buChar char="•"/>
            </a:pPr>
            <a:endParaRPr lang="en-US">
              <a:latin typeface="Arial"/>
              <a:cs typeface="Arial"/>
            </a:endParaRPr>
          </a:p>
          <a:p>
            <a:pPr marL="228600" lvl="1" indent="-228600">
              <a:buFont typeface=""/>
              <a:buChar char="•"/>
            </a:pPr>
            <a:r>
              <a:rPr lang="en-US" b="1">
                <a:latin typeface="Arial"/>
                <a:cs typeface="Arial"/>
              </a:rPr>
              <a:t>Total generation</a:t>
            </a:r>
            <a:r>
              <a:rPr lang="en-US">
                <a:latin typeface="Arial"/>
                <a:cs typeface="Arial"/>
              </a:rPr>
              <a:t> must equal </a:t>
            </a:r>
            <a:r>
              <a:rPr lang="en-US" b="1">
                <a:latin typeface="Arial"/>
                <a:cs typeface="Arial"/>
              </a:rPr>
              <a:t>1000 MWh</a:t>
            </a:r>
          </a:p>
        </p:txBody>
      </p:sp>
      <p:pic>
        <p:nvPicPr>
          <p:cNvPr id="6" name="Picture 5" descr="A screenshot of a computer&#10;&#10;AI-generated content may be incorrect.">
            <a:extLst>
              <a:ext uri="{FF2B5EF4-FFF2-40B4-BE49-F238E27FC236}">
                <a16:creationId xmlns:a16="http://schemas.microsoft.com/office/drawing/2014/main" id="{22B0D421-513D-941C-6E34-50D8E0C0894B}"/>
              </a:ext>
            </a:extLst>
          </p:cNvPr>
          <p:cNvPicPr>
            <a:picLocks noChangeAspect="1"/>
          </p:cNvPicPr>
          <p:nvPr/>
        </p:nvPicPr>
        <p:blipFill>
          <a:blip r:embed="rId3"/>
          <a:stretch>
            <a:fillRect/>
          </a:stretch>
        </p:blipFill>
        <p:spPr>
          <a:xfrm>
            <a:off x="7781197" y="1604211"/>
            <a:ext cx="3377317" cy="4281238"/>
          </a:xfrm>
          <a:prstGeom prst="rect">
            <a:avLst/>
          </a:prstGeom>
        </p:spPr>
      </p:pic>
    </p:spTree>
    <p:extLst>
      <p:ext uri="{BB962C8B-B14F-4D97-AF65-F5344CB8AC3E}">
        <p14:creationId xmlns:p14="http://schemas.microsoft.com/office/powerpoint/2010/main" val="2096876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5D5C67D-C534-B85E-1F37-9A378A791FB8}"/>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80162771-9575-4F27-8E1B-6272E720E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F1BB673A-A879-22BE-E618-878256F733A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CBDBA5B9-1145-5A84-F7FC-F6DEE066BE5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B359EA83-138D-D10E-482F-B1225CCDA5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C2AEB2F0-6CE7-B3FF-E159-70046CF39EF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76619278-7870-36EF-6317-2D45101564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81A1A9DF-77C2-D466-5785-C0375F31D2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E2BC7928-2048-EAF7-A35F-FBD2B8E526A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3A6A7CD1-0346-B058-94C7-3B00EBCF57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E9F7D38A-CF6A-627B-C2AE-9EED0CF4D8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48151FA1-44BD-5DB3-5D7C-610A41974E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FC774046-B93F-CA7D-6DD1-CEBBE45268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8F44536C-1474-A4C6-8B3E-52A9BA8D9B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28C09593-E905-73FD-BE1B-BBDFF1E848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4C05708B-B341-06CC-2539-8E4FBA6A243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9A17AB3D-559E-8E70-E29C-80D757F18AF9}"/>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Single Objective Results – Minimizing Cost</a:t>
            </a:r>
            <a:endParaRPr lang="en-US" sz="2700" b="0">
              <a:solidFill>
                <a:schemeClr val="tx1"/>
              </a:solidFill>
            </a:endParaRPr>
          </a:p>
        </p:txBody>
      </p:sp>
      <p:cxnSp>
        <p:nvCxnSpPr>
          <p:cNvPr id="5" name="Straight Connector 4">
            <a:extLst>
              <a:ext uri="{FF2B5EF4-FFF2-40B4-BE49-F238E27FC236}">
                <a16:creationId xmlns:a16="http://schemas.microsoft.com/office/drawing/2014/main" id="{FCC8F66B-53DF-6E2B-9E9E-61226A13EF51}"/>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pic>
        <p:nvPicPr>
          <p:cNvPr id="3" name="Picture 2" descr="A screenshot of a graph&#10;&#10;AI-generated content may be incorrect.">
            <a:extLst>
              <a:ext uri="{FF2B5EF4-FFF2-40B4-BE49-F238E27FC236}">
                <a16:creationId xmlns:a16="http://schemas.microsoft.com/office/drawing/2014/main" id="{B90C8E24-D2FD-F0DE-2312-92DEF4106FC1}"/>
              </a:ext>
            </a:extLst>
          </p:cNvPr>
          <p:cNvPicPr>
            <a:picLocks noChangeAspect="1"/>
          </p:cNvPicPr>
          <p:nvPr/>
        </p:nvPicPr>
        <p:blipFill>
          <a:blip r:embed="rId3"/>
          <a:stretch>
            <a:fillRect/>
          </a:stretch>
        </p:blipFill>
        <p:spPr>
          <a:xfrm>
            <a:off x="944646" y="2053557"/>
            <a:ext cx="10316076" cy="2777623"/>
          </a:xfrm>
          <a:prstGeom prst="rect">
            <a:avLst/>
          </a:prstGeom>
        </p:spPr>
      </p:pic>
      <p:sp>
        <p:nvSpPr>
          <p:cNvPr id="6" name="TextBox 5">
            <a:extLst>
              <a:ext uri="{FF2B5EF4-FFF2-40B4-BE49-F238E27FC236}">
                <a16:creationId xmlns:a16="http://schemas.microsoft.com/office/drawing/2014/main" id="{948E966C-71F5-081E-8679-2FAEA890C18E}"/>
              </a:ext>
            </a:extLst>
          </p:cNvPr>
          <p:cNvSpPr txBox="1"/>
          <p:nvPr/>
        </p:nvSpPr>
        <p:spPr>
          <a:xfrm>
            <a:off x="1229340" y="5158308"/>
            <a:ext cx="3071894" cy="646331"/>
          </a:xfrm>
          <a:prstGeom prst="rect">
            <a:avLst/>
          </a:prstGeom>
          <a:no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a:t>Cost: 48,200 ($/MWh)</a:t>
            </a:r>
            <a:endParaRPr lang="en-US"/>
          </a:p>
          <a:p>
            <a:pPr marL="285750" indent="-285750">
              <a:buFont typeface="Arial"/>
              <a:buChar char="•"/>
            </a:pPr>
            <a:r>
              <a:rPr lang="en-US" b="1"/>
              <a:t>Reliability: 45%</a:t>
            </a:r>
          </a:p>
        </p:txBody>
      </p:sp>
      <p:sp>
        <p:nvSpPr>
          <p:cNvPr id="7" name="TextBox 6">
            <a:extLst>
              <a:ext uri="{FF2B5EF4-FFF2-40B4-BE49-F238E27FC236}">
                <a16:creationId xmlns:a16="http://schemas.microsoft.com/office/drawing/2014/main" id="{D9D73F9A-A651-67C9-2560-009BC95BB3CE}"/>
              </a:ext>
            </a:extLst>
          </p:cNvPr>
          <p:cNvSpPr txBox="1"/>
          <p:nvPr/>
        </p:nvSpPr>
        <p:spPr>
          <a:xfrm>
            <a:off x="4509655" y="5160818"/>
            <a:ext cx="6560126" cy="646331"/>
          </a:xfrm>
          <a:prstGeom prst="rect">
            <a:avLst/>
          </a:prstGeom>
          <a:noFill/>
          <a:ln w="12700">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t>Due to the emissions constraint, the model limits fossil fuel usage to 250 MWh, even though it is cheap and reliable.</a:t>
            </a:r>
          </a:p>
        </p:txBody>
      </p:sp>
    </p:spTree>
    <p:extLst>
      <p:ext uri="{BB962C8B-B14F-4D97-AF65-F5344CB8AC3E}">
        <p14:creationId xmlns:p14="http://schemas.microsoft.com/office/powerpoint/2010/main" val="13502421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019AB00-FD57-6C48-3865-E69D8CE8A5D0}"/>
            </a:ext>
          </a:extLst>
        </p:cNvPr>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B2D080F8-1142-1833-A717-925BE87869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BB5AD563-A8D2-1783-3022-B8CEF3549C1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0"/>
            <a:ext cx="12188949" cy="6858000"/>
            <a:chOff x="-2848" y="0"/>
            <a:chExt cx="12188949" cy="6858000"/>
          </a:xfrm>
        </p:grpSpPr>
        <p:sp>
          <p:nvSpPr>
            <p:cNvPr id="31" name="Color Cover">
              <a:extLst>
                <a:ext uri="{FF2B5EF4-FFF2-40B4-BE49-F238E27FC236}">
                  <a16:creationId xmlns:a16="http://schemas.microsoft.com/office/drawing/2014/main" id="{22A05806-502F-0491-9E84-F2841A642E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lor Cover">
              <a:extLst>
                <a:ext uri="{FF2B5EF4-FFF2-40B4-BE49-F238E27FC236}">
                  <a16:creationId xmlns:a16="http://schemas.microsoft.com/office/drawing/2014/main" id="{F89844A6-138A-66E7-6F7F-09BA15FBCF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7B42FFFC-8EDC-8A77-C98C-7872212E399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2" cy="5680742"/>
            <a:chOff x="651279" y="598259"/>
            <a:chExt cx="10889442" cy="5680742"/>
          </a:xfrm>
        </p:grpSpPr>
        <p:sp>
          <p:nvSpPr>
            <p:cNvPr id="33" name="Color">
              <a:extLst>
                <a:ext uri="{FF2B5EF4-FFF2-40B4-BE49-F238E27FC236}">
                  <a16:creationId xmlns:a16="http://schemas.microsoft.com/office/drawing/2014/main" id="{822FC966-B60A-B494-B24C-80646C7C088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lor">
              <a:extLst>
                <a:ext uri="{FF2B5EF4-FFF2-40B4-BE49-F238E27FC236}">
                  <a16:creationId xmlns:a16="http://schemas.microsoft.com/office/drawing/2014/main" id="{C6E96036-C9A4-02CF-12DD-89F85EFD31F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CEB7D8DE-32C1-4C3A-0F0B-8893CB9061C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5" name="Freeform: Shape 34">
              <a:extLst>
                <a:ext uri="{FF2B5EF4-FFF2-40B4-BE49-F238E27FC236}">
                  <a16:creationId xmlns:a16="http://schemas.microsoft.com/office/drawing/2014/main" id="{D1A1243E-1247-3928-2269-8FDF47430E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073F5CC9-649C-EF91-2D50-FFC5F51C84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F9759061-7DBD-4122-EFD4-BFFEB3A986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E27EC648-1D4C-3361-9721-CADA9D290D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0931A71D-3DF6-1038-08E6-10B7A83066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05422755-6C8A-C2E8-249F-422FE5F506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4A0FDE92-37C8-9AEB-15EA-979E4540C82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1F53B465-427C-8378-9832-5AC2883C48A0}"/>
              </a:ext>
            </a:extLst>
          </p:cNvPr>
          <p:cNvSpPr>
            <a:spLocks noGrp="1"/>
          </p:cNvSpPr>
          <p:nvPr>
            <p:ph type="ctrTitle"/>
          </p:nvPr>
        </p:nvSpPr>
        <p:spPr>
          <a:xfrm>
            <a:off x="882892" y="602737"/>
            <a:ext cx="10423232" cy="870295"/>
          </a:xfrm>
        </p:spPr>
        <p:txBody>
          <a:bodyPr vert="horz" lIns="91440" tIns="45720" rIns="91440" bIns="45720" rtlCol="0" anchor="ctr">
            <a:normAutofit/>
          </a:bodyPr>
          <a:lstStyle/>
          <a:p>
            <a:pPr algn="l"/>
            <a:r>
              <a:rPr lang="en-US" sz="2700">
                <a:solidFill>
                  <a:schemeClr val="tx1"/>
                </a:solidFill>
                <a:latin typeface="Arial"/>
                <a:cs typeface="Arial"/>
              </a:rPr>
              <a:t>Single Objective Results – Maximizing Reliability</a:t>
            </a:r>
            <a:endParaRPr lang="en-US">
              <a:solidFill>
                <a:schemeClr val="tx1"/>
              </a:solidFill>
            </a:endParaRPr>
          </a:p>
        </p:txBody>
      </p:sp>
      <p:cxnSp>
        <p:nvCxnSpPr>
          <p:cNvPr id="5" name="Straight Connector 4">
            <a:extLst>
              <a:ext uri="{FF2B5EF4-FFF2-40B4-BE49-F238E27FC236}">
                <a16:creationId xmlns:a16="http://schemas.microsoft.com/office/drawing/2014/main" id="{1D9B2006-E866-C014-765E-D3FB9F393358}"/>
              </a:ext>
            </a:extLst>
          </p:cNvPr>
          <p:cNvCxnSpPr>
            <a:cxnSpLocks/>
          </p:cNvCxnSpPr>
          <p:nvPr/>
        </p:nvCxnSpPr>
        <p:spPr>
          <a:xfrm>
            <a:off x="888194" y="1413185"/>
            <a:ext cx="10419191" cy="0"/>
          </a:xfrm>
          <a:prstGeom prst="line">
            <a:avLst/>
          </a:prstGeom>
          <a:ln w="50800">
            <a:solidFill>
              <a:srgbClr val="092F69"/>
            </a:solidFill>
            <a:prstDash val="solid"/>
          </a:ln>
        </p:spPr>
        <p:style>
          <a:lnRef idx="2">
            <a:schemeClr val="accent1"/>
          </a:lnRef>
          <a:fillRef idx="0">
            <a:schemeClr val="accent1"/>
          </a:fillRef>
          <a:effectRef idx="1">
            <a:schemeClr val="accent1"/>
          </a:effectRef>
          <a:fontRef idx="minor">
            <a:schemeClr val="tx1"/>
          </a:fontRef>
        </p:style>
      </p:cxnSp>
      <p:pic>
        <p:nvPicPr>
          <p:cNvPr id="4" name="Picture 3" descr="A screenshot of a graph&#10;&#10;AI-generated content may be incorrect.">
            <a:extLst>
              <a:ext uri="{FF2B5EF4-FFF2-40B4-BE49-F238E27FC236}">
                <a16:creationId xmlns:a16="http://schemas.microsoft.com/office/drawing/2014/main" id="{D9DCE821-AC4A-C33A-2FB8-D4173648FA8E}"/>
              </a:ext>
            </a:extLst>
          </p:cNvPr>
          <p:cNvPicPr>
            <a:picLocks noChangeAspect="1"/>
          </p:cNvPicPr>
          <p:nvPr/>
        </p:nvPicPr>
        <p:blipFill>
          <a:blip r:embed="rId3"/>
          <a:stretch>
            <a:fillRect/>
          </a:stretch>
        </p:blipFill>
        <p:spPr>
          <a:xfrm>
            <a:off x="882066" y="1962903"/>
            <a:ext cx="10294185" cy="2945564"/>
          </a:xfrm>
          <a:prstGeom prst="rect">
            <a:avLst/>
          </a:prstGeom>
        </p:spPr>
      </p:pic>
      <p:sp>
        <p:nvSpPr>
          <p:cNvPr id="3" name="Rectangle 2">
            <a:extLst>
              <a:ext uri="{FF2B5EF4-FFF2-40B4-BE49-F238E27FC236}">
                <a16:creationId xmlns:a16="http://schemas.microsoft.com/office/drawing/2014/main" id="{BBB1B563-874E-8517-9216-6E6620C0B9B9}"/>
              </a:ext>
            </a:extLst>
          </p:cNvPr>
          <p:cNvSpPr/>
          <p:nvPr/>
        </p:nvSpPr>
        <p:spPr>
          <a:xfrm>
            <a:off x="3378701" y="3903769"/>
            <a:ext cx="1501913" cy="3533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A1FE4F4-4316-57BC-8B65-8B2B89396982}"/>
              </a:ext>
            </a:extLst>
          </p:cNvPr>
          <p:cNvSpPr/>
          <p:nvPr/>
        </p:nvSpPr>
        <p:spPr>
          <a:xfrm>
            <a:off x="7050155" y="3903768"/>
            <a:ext cx="1578113" cy="353391"/>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E48F66C-BCBF-D250-5A4F-47BB3453F4B3}"/>
              </a:ext>
            </a:extLst>
          </p:cNvPr>
          <p:cNvSpPr txBox="1"/>
          <p:nvPr/>
        </p:nvSpPr>
        <p:spPr>
          <a:xfrm>
            <a:off x="1229340" y="5158308"/>
            <a:ext cx="3071894" cy="646331"/>
          </a:xfrm>
          <a:prstGeom prst="rect">
            <a:avLst/>
          </a:prstGeom>
          <a:no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a:t>Cost: 63,300 ($/MWh)</a:t>
            </a:r>
            <a:endParaRPr lang="en-US"/>
          </a:p>
          <a:p>
            <a:pPr marL="285750" indent="-285750">
              <a:buFont typeface="Arial"/>
              <a:buChar char="•"/>
            </a:pPr>
            <a:r>
              <a:rPr lang="en-US" b="1"/>
              <a:t>Reliability: 66%</a:t>
            </a:r>
          </a:p>
        </p:txBody>
      </p:sp>
      <p:sp>
        <p:nvSpPr>
          <p:cNvPr id="8" name="TextBox 7">
            <a:extLst>
              <a:ext uri="{FF2B5EF4-FFF2-40B4-BE49-F238E27FC236}">
                <a16:creationId xmlns:a16="http://schemas.microsoft.com/office/drawing/2014/main" id="{09567012-FD69-05FE-849D-E2228534295C}"/>
              </a:ext>
            </a:extLst>
          </p:cNvPr>
          <p:cNvSpPr txBox="1"/>
          <p:nvPr/>
        </p:nvSpPr>
        <p:spPr>
          <a:xfrm>
            <a:off x="4880013" y="5158307"/>
            <a:ext cx="6175312" cy="646331"/>
          </a:xfrm>
          <a:prstGeom prst="rect">
            <a:avLst/>
          </a:prstGeom>
          <a:no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ea typeface="+mn-lt"/>
                <a:cs typeface="+mn-lt"/>
              </a:rPr>
              <a:t>To increase reliability, the model leans more on </a:t>
            </a:r>
            <a:r>
              <a:rPr lang="en-US" b="1">
                <a:ea typeface="+mn-lt"/>
                <a:cs typeface="+mn-lt"/>
              </a:rPr>
              <a:t>nuclear energy</a:t>
            </a:r>
            <a:r>
              <a:rPr lang="en-US">
                <a:ea typeface="+mn-lt"/>
                <a:cs typeface="+mn-lt"/>
              </a:rPr>
              <a:t>, which is </a:t>
            </a:r>
            <a:r>
              <a:rPr lang="en-US" b="1">
                <a:ea typeface="+mn-lt"/>
                <a:cs typeface="+mn-lt"/>
              </a:rPr>
              <a:t>expensive but highly reliable</a:t>
            </a:r>
            <a:r>
              <a:rPr lang="en-US">
                <a:ea typeface="+mn-lt"/>
                <a:cs typeface="+mn-lt"/>
              </a:rPr>
              <a:t>.</a:t>
            </a:r>
            <a:endParaRPr lang="en-US" b="1">
              <a:ea typeface="+mn-lt"/>
              <a:cs typeface="+mn-lt"/>
            </a:endParaRPr>
          </a:p>
        </p:txBody>
      </p:sp>
    </p:spTree>
    <p:extLst>
      <p:ext uri="{BB962C8B-B14F-4D97-AF65-F5344CB8AC3E}">
        <p14:creationId xmlns:p14="http://schemas.microsoft.com/office/powerpoint/2010/main" val="42439681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8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03&quot; g=&quot;69&quot; b=&quot;3C&quot;/&gt;&lt;/elem&gt;&lt;elem m_fUsage=&quot;9.00000000000000022204E-01&quot;&gt;&lt;m_msothmcolidx val=&quot;0&quot;/&gt;&lt;m_rgb r=&quot;FE&quot; g=&quot;C0&quot; b=&quot;00&quot;/&gt;&lt;/elem&gt;&lt;/m_vecMRU&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23469ebc-8f44-4744-8135-a101cf861e2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4A19A4D1F889549A4B18E2D2F916098" ma:contentTypeVersion="17" ma:contentTypeDescription="Create a new document." ma:contentTypeScope="" ma:versionID="e9b4f6c3e91729d26bbf870e0314709d">
  <xsd:schema xmlns:xsd="http://www.w3.org/2001/XMLSchema" xmlns:xs="http://www.w3.org/2001/XMLSchema" xmlns:p="http://schemas.microsoft.com/office/2006/metadata/properties" xmlns:ns3="23469ebc-8f44-4744-8135-a101cf861e23" xmlns:ns4="54a3f1f5-b865-481d-9c17-b1a9774f99d7" targetNamespace="http://schemas.microsoft.com/office/2006/metadata/properties" ma:root="true" ma:fieldsID="f463e8323703813b439cd9944f1868de" ns3:_="" ns4:_="">
    <xsd:import namespace="23469ebc-8f44-4744-8135-a101cf861e23"/>
    <xsd:import namespace="54a3f1f5-b865-481d-9c17-b1a9774f99d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LengthInSeconds" minOccurs="0"/>
                <xsd:element ref="ns3:_activity" minOccurs="0"/>
                <xsd:element ref="ns3:MediaServiceObjectDetectorVersions" minOccurs="0"/>
                <xsd:element ref="ns3:MediaServiceAutoTags" minOccurs="0"/>
                <xsd:element ref="ns3:MediaServiceOCR" minOccurs="0"/>
                <xsd:element ref="ns3:MediaServiceGenerationTime" minOccurs="0"/>
                <xsd:element ref="ns3:MediaServiceEventHashCode"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469ebc-8f44-4744-8135-a101cf861e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_activity" ma:index="17" nillable="true" ma:displayName="_activity" ma:hidden="true" ma:internalName="_activity">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4a3f1f5-b865-481d-9c17-b1a9774f99d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0BE611-4A7D-44B9-9315-F8D5B2B78927}">
  <ds:schemaRefs>
    <ds:schemaRef ds:uri="http://schemas.microsoft.com/sharepoint/v3/contenttype/forms"/>
  </ds:schemaRefs>
</ds:datastoreItem>
</file>

<file path=customXml/itemProps2.xml><?xml version="1.0" encoding="utf-8"?>
<ds:datastoreItem xmlns:ds="http://schemas.openxmlformats.org/officeDocument/2006/customXml" ds:itemID="{64C985F8-4F53-4543-AF6C-BE367878D026}">
  <ds:schemaRefs>
    <ds:schemaRef ds:uri="23469ebc-8f44-4744-8135-a101cf861e23"/>
    <ds:schemaRef ds:uri="54a3f1f5-b865-481d-9c17-b1a9774f99d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35A752D-6E6F-4EE7-9C28-9D4213B817A3}">
  <ds:schemaRefs>
    <ds:schemaRef ds:uri="23469ebc-8f44-4744-8135-a101cf861e23"/>
    <ds:schemaRef ds:uri="54a3f1f5-b865-481d-9c17-b1a9774f99d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9ef9f489-e0a0-4eeb-87cc-3a526112fd0d}" enabled="0" method="" siteId="{9ef9f489-e0a0-4eeb-87cc-3a526112fd0d}" removed="1"/>
</clbl:labelList>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5</Slides>
  <Notes>9</Notes>
  <HiddenSlides>0</HiddenSlide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office theme</vt:lpstr>
      <vt:lpstr>Optimizing the U.S. Energy Mix</vt:lpstr>
      <vt:lpstr>Team Introduction</vt:lpstr>
      <vt:lpstr>Today's Agenda 1. Project Case 2. Methodology 3. Insights 4. Recommended Next Steps  </vt:lpstr>
      <vt:lpstr>Energy Landscape in the US</vt:lpstr>
      <vt:lpstr>Energy Landscape - Challenges</vt:lpstr>
      <vt:lpstr>Problem Statement</vt:lpstr>
      <vt:lpstr>Methodology - Pareto Multi-objective</vt:lpstr>
      <vt:lpstr>Single Objective Results – Minimizing Cost</vt:lpstr>
      <vt:lpstr>Single Objective Results – Maximizing Reliability</vt:lpstr>
      <vt:lpstr>Pareto: Trade-off Analysis</vt:lpstr>
      <vt:lpstr>Recommendations</vt:lpstr>
      <vt:lpstr>Next Steps</vt:lpstr>
      <vt:lpstr>Questions</vt:lpstr>
      <vt:lpstr>Appendix</vt:lpstr>
      <vt:lpstr>Data 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1</cp:revision>
  <dcterms:created xsi:type="dcterms:W3CDTF">2025-04-04T17:07:28Z</dcterms:created>
  <dcterms:modified xsi:type="dcterms:W3CDTF">2025-04-21T15:4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A19A4D1F889549A4B18E2D2F916098</vt:lpwstr>
  </property>
</Properties>
</file>